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3.xml" ContentType="application/vnd.openxmlformats-officedocument.presentationml.notesSlide+xml"/>
  <Override PartName="/ppt/tags/tag134.xml" ContentType="application/vnd.openxmlformats-officedocument.presentationml.tags+xml"/>
  <Override PartName="/ppt/notesSlides/notesSlide4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5.xml" ContentType="application/vnd.openxmlformats-officedocument.presentationml.notesSlide+xml"/>
  <Override PartName="/ppt/tags/tag177.xml" ContentType="application/vnd.openxmlformats-officedocument.presentationml.tags+xml"/>
  <Override PartName="/ppt/notesSlides/notesSlide6.xml" ContentType="application/vnd.openxmlformats-officedocument.presentationml.notesSlide+xml"/>
  <Override PartName="/ppt/tags/tag178.xml" ContentType="application/vnd.openxmlformats-officedocument.presentationml.tags+xml"/>
  <Override PartName="/ppt/notesSlides/notesSlide7.xml" ContentType="application/vnd.openxmlformats-officedocument.presentationml.notesSlide+xml"/>
  <Override PartName="/ppt/tags/tag179.xml" ContentType="application/vnd.openxmlformats-officedocument.presentationml.tags+xml"/>
  <Override PartName="/ppt/notesSlides/notesSlide8.xml" ContentType="application/vnd.openxmlformats-officedocument.presentationml.notesSlide+xml"/>
  <Override PartName="/ppt/tags/tag180.xml" ContentType="application/vnd.openxmlformats-officedocument.presentationml.tags+xml"/>
  <Override PartName="/ppt/notesSlides/notesSlide9.xml" ContentType="application/vnd.openxmlformats-officedocument.presentationml.notesSlide+xml"/>
  <Override PartName="/ppt/tags/tag181.xml" ContentType="application/vnd.openxmlformats-officedocument.presentationml.tags+xml"/>
  <Override PartName="/ppt/notesSlides/notesSlide10.xml" ContentType="application/vnd.openxmlformats-officedocument.presentationml.notesSlide+xml"/>
  <Override PartName="/ppt/tags/tag182.xml" ContentType="application/vnd.openxmlformats-officedocument.presentationml.tags+xml"/>
  <Override PartName="/ppt/notesSlides/notesSlide11.xml" ContentType="application/vnd.openxmlformats-officedocument.presentationml.notesSlide+xml"/>
  <Override PartName="/ppt/tags/tag183.xml" ContentType="application/vnd.openxmlformats-officedocument.presentationml.tags+xml"/>
  <Override PartName="/ppt/notesSlides/notesSlide12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9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91.xml" ContentType="application/vnd.openxmlformats-officedocument.presentationml.tags+xml"/>
  <Override PartName="/ppt/notesSlides/notesSlide17.xml" ContentType="application/vnd.openxmlformats-officedocument.presentationml.notesSlide+xml"/>
  <Override PartName="/ppt/tags/tag19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93.xml" ContentType="application/vnd.openxmlformats-officedocument.presentationml.tags+xml"/>
  <Override PartName="/ppt/notesSlides/notesSlide19.xml" ContentType="application/vnd.openxmlformats-officedocument.presentationml.notesSlide+xml"/>
  <Override PartName="/ppt/tags/tag194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21.xml" ContentType="application/vnd.openxmlformats-officedocument.presentationml.notesSlide+xml"/>
  <Override PartName="/ppt/tags/tag199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6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27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388" r:id="rId2"/>
    <p:sldId id="968" r:id="rId3"/>
    <p:sldId id="864" r:id="rId4"/>
    <p:sldId id="998" r:id="rId5"/>
    <p:sldId id="879" r:id="rId6"/>
    <p:sldId id="1000" r:id="rId7"/>
    <p:sldId id="1001" r:id="rId8"/>
    <p:sldId id="1012" r:id="rId9"/>
    <p:sldId id="1013" r:id="rId10"/>
    <p:sldId id="1014" r:id="rId11"/>
    <p:sldId id="1015" r:id="rId12"/>
    <p:sldId id="1016" r:id="rId13"/>
    <p:sldId id="973" r:id="rId14"/>
    <p:sldId id="876" r:id="rId15"/>
    <p:sldId id="1017" r:id="rId16"/>
    <p:sldId id="877" r:id="rId17"/>
    <p:sldId id="1018" r:id="rId18"/>
    <p:sldId id="1019" r:id="rId19"/>
    <p:sldId id="1020" r:id="rId20"/>
    <p:sldId id="1021" r:id="rId21"/>
    <p:sldId id="990" r:id="rId22"/>
    <p:sldId id="1004" r:id="rId23"/>
    <p:sldId id="873" r:id="rId24"/>
    <p:sldId id="874" r:id="rId25"/>
    <p:sldId id="875" r:id="rId26"/>
    <p:sldId id="986" r:id="rId27"/>
    <p:sldId id="987" r:id="rId28"/>
    <p:sldId id="991" r:id="rId29"/>
    <p:sldId id="878" r:id="rId30"/>
    <p:sldId id="908" r:id="rId31"/>
  </p:sldIdLst>
  <p:sldSz cx="8961438" cy="6721475"/>
  <p:notesSz cx="9942513" cy="6811963"/>
  <p:embeddedFontLst>
    <p:embeddedFont>
      <p:font typeface="Cambria Math" panose="02040503050406030204" pitchFamily="18" charset="0"/>
      <p:regular r:id="rId34"/>
    </p:embeddedFont>
    <p:embeddedFont>
      <p:font typeface="Century Gothic" panose="020B0502020202020204" pitchFamily="34" charset="0"/>
      <p:regular r:id="rId35"/>
      <p:bold r:id="rId36"/>
      <p:italic r:id="rId37"/>
      <p:boldItalic r:id="rId38"/>
    </p:embeddedFont>
    <p:embeddedFont>
      <p:font typeface="Grotesque" panose="020B0504020202020204" pitchFamily="34" charset="0"/>
      <p:regular r:id="rId39"/>
      <p:bold r:id="rId40"/>
    </p:embeddedFont>
  </p:embeddedFontLst>
  <p:custDataLst>
    <p:tags r:id="rId41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orient="horz">
          <p15:clr>
            <a:srgbClr val="A4A3A4"/>
          </p15:clr>
        </p15:guide>
        <p15:guide id="3" pos="55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6">
          <p15:clr>
            <a:srgbClr val="A4A3A4"/>
          </p15:clr>
        </p15:guide>
        <p15:guide id="2" pos="31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C85A"/>
    <a:srgbClr val="FFAC00"/>
    <a:srgbClr val="DDDDDD"/>
    <a:srgbClr val="CC0000"/>
    <a:srgbClr val="000000"/>
    <a:srgbClr val="C0C0C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4598" autoAdjust="0"/>
  </p:normalViewPr>
  <p:slideViewPr>
    <p:cSldViewPr snapToGrid="0">
      <p:cViewPr varScale="1">
        <p:scale>
          <a:sx n="106" d="100"/>
          <a:sy n="106" d="100"/>
        </p:scale>
        <p:origin x="1752" y="102"/>
      </p:cViewPr>
      <p:guideLst>
        <p:guide orient="horz" pos="4233"/>
        <p:guide orient="horz"/>
        <p:guide pos="550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-306" y="-84"/>
      </p:cViewPr>
      <p:guideLst>
        <p:guide orient="horz" pos="2146"/>
        <p:guide pos="3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1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2.fntdata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Gerhard\Aberdeen\TEACHING\Financial%20analysis\Cases\Kellogg\Valuation%20model%20Kellogglsx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Gerhard\Aberdeen\TEACHING\Financial%20analysis\Cases\Kellogg\Valuation%20model%20Kellogglsx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Valuation handout'!$A$7</c:f>
              <c:strCache>
                <c:ptCount val="1"/>
                <c:pt idx="0">
                  <c:v>Total Revenue 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Valuation handout'!$B$6:$U$6</c:f>
              <c:numCache>
                <c:formatCode>0</c:formatCode>
                <c:ptCount val="2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</c:numCache>
            </c:numRef>
          </c:cat>
          <c:val>
            <c:numRef>
              <c:f>'Valuation handout'!$B$7:$U$7</c:f>
              <c:numCache>
                <c:formatCode>0_ ;[Red]\-0\ </c:formatCode>
                <c:ptCount val="20"/>
                <c:pt idx="0">
                  <c:v>13525</c:v>
                </c:pt>
                <c:pt idx="1">
                  <c:v>12965</c:v>
                </c:pt>
                <c:pt idx="2">
                  <c:v>12854</c:v>
                </c:pt>
                <c:pt idx="3">
                  <c:v>13547</c:v>
                </c:pt>
                <c:pt idx="4">
                  <c:v>13682.47</c:v>
                </c:pt>
                <c:pt idx="5">
                  <c:v>13819.294699999999</c:v>
                </c:pt>
                <c:pt idx="6">
                  <c:v>13957.487646999998</c:v>
                </c:pt>
                <c:pt idx="7">
                  <c:v>14097.062523469998</c:v>
                </c:pt>
                <c:pt idx="8">
                  <c:v>14097.062523469998</c:v>
                </c:pt>
                <c:pt idx="9">
                  <c:v>14097.062523469998</c:v>
                </c:pt>
                <c:pt idx="10">
                  <c:v>14097.062523469998</c:v>
                </c:pt>
                <c:pt idx="11">
                  <c:v>14097.062523469998</c:v>
                </c:pt>
                <c:pt idx="12">
                  <c:v>14097.062523469998</c:v>
                </c:pt>
                <c:pt idx="13">
                  <c:v>14097.062523469998</c:v>
                </c:pt>
                <c:pt idx="14">
                  <c:v>14097.062523469998</c:v>
                </c:pt>
                <c:pt idx="15">
                  <c:v>14097.062523469998</c:v>
                </c:pt>
                <c:pt idx="16">
                  <c:v>14097.062523469998</c:v>
                </c:pt>
                <c:pt idx="17">
                  <c:v>14097.062523469998</c:v>
                </c:pt>
                <c:pt idx="18">
                  <c:v>14097.062523469998</c:v>
                </c:pt>
                <c:pt idx="19">
                  <c:v>14097.06252346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2A5-484D-BDC7-4BD08676B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98127688"/>
        <c:axId val="698129328"/>
      </c:lineChart>
      <c:catAx>
        <c:axId val="698127688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8129328"/>
        <c:crosses val="autoZero"/>
        <c:auto val="1"/>
        <c:lblAlgn val="ctr"/>
        <c:lblOffset val="100"/>
        <c:noMultiLvlLbl val="0"/>
      </c:catAx>
      <c:valAx>
        <c:axId val="698129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_ ;[Red]\-0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8127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Valuation handout'!$A$44</c:f>
              <c:strCache>
                <c:ptCount val="1"/>
                <c:pt idx="0">
                  <c:v>Total deb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'Valuation handout'!$B$6:$U$6</c:f>
              <c:numCache>
                <c:formatCode>0</c:formatCode>
                <c:ptCount val="20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</c:numCache>
            </c:numRef>
          </c:cat>
          <c:val>
            <c:numRef>
              <c:f>'Valuation handout'!$B$44:$U$44</c:f>
              <c:numCache>
                <c:formatCode>0_ ;[Red]\-0\ </c:formatCode>
                <c:ptCount val="20"/>
                <c:pt idx="0">
                  <c:v>8659.5</c:v>
                </c:pt>
                <c:pt idx="1">
                  <c:v>9321.2999999999993</c:v>
                </c:pt>
                <c:pt idx="2">
                  <c:v>10020.08</c:v>
                </c:pt>
                <c:pt idx="3">
                  <c:v>10551.94</c:v>
                </c:pt>
                <c:pt idx="4">
                  <c:v>9670.099665208767</c:v>
                </c:pt>
                <c:pt idx="5">
                  <c:v>8731.2584390777156</c:v>
                </c:pt>
                <c:pt idx="6">
                  <c:v>7762.1626248962748</c:v>
                </c:pt>
                <c:pt idx="7">
                  <c:v>6762.089223341789</c:v>
                </c:pt>
                <c:pt idx="8">
                  <c:v>5686.5377238881665</c:v>
                </c:pt>
                <c:pt idx="9">
                  <c:v>4589.3138617205532</c:v>
                </c:pt>
                <c:pt idx="10">
                  <c:v>3469.980938730263</c:v>
                </c:pt>
                <c:pt idx="11">
                  <c:v>2328.093457341718</c:v>
                </c:pt>
                <c:pt idx="12">
                  <c:v>1163.1969432031929</c:v>
                </c:pt>
                <c:pt idx="13">
                  <c:v>-25.172235695223208</c:v>
                </c:pt>
                <c:pt idx="14">
                  <c:v>-1237.4870535484424</c:v>
                </c:pt>
                <c:pt idx="15">
                  <c:v>-2474.2300149814018</c:v>
                </c:pt>
                <c:pt idx="16">
                  <c:v>-3735.893347087238</c:v>
                </c:pt>
                <c:pt idx="17">
                  <c:v>-5022.979195335005</c:v>
                </c:pt>
                <c:pt idx="18">
                  <c:v>-6335.999823424967</c:v>
                </c:pt>
                <c:pt idx="19">
                  <c:v>-7675.4778171709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3B-4048-9595-FB9B389B0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1690816"/>
        <c:axId val="761691472"/>
      </c:lineChart>
      <c:catAx>
        <c:axId val="761690816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691472"/>
        <c:crosses val="autoZero"/>
        <c:auto val="1"/>
        <c:lblAlgn val="ctr"/>
        <c:lblOffset val="100"/>
        <c:noMultiLvlLbl val="0"/>
      </c:catAx>
      <c:valAx>
        <c:axId val="761691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_ ;[Red]\-0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1690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9E1544-0990-4FAE-A8D9-409C71E1BB96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/>
      <dgm:spPr/>
    </dgm:pt>
    <dgm:pt modelId="{9FB9B54C-4D67-4377-911D-74531DC8DB5B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Value</a:t>
          </a:r>
        </a:p>
      </dgm:t>
    </dgm:pt>
    <dgm:pt modelId="{F78BDE16-8784-4030-A387-6CC9E52005EA}" type="parTrans" cxnId="{50168570-6382-48D3-92EE-44F5E0C442D5}">
      <dgm:prSet/>
      <dgm:spPr/>
      <dgm:t>
        <a:bodyPr/>
        <a:lstStyle/>
        <a:p>
          <a:endParaRPr lang="en-GB"/>
        </a:p>
      </dgm:t>
    </dgm:pt>
    <dgm:pt modelId="{C39EFCB9-0930-4834-A4CA-13201F14CAAC}" type="sibTrans" cxnId="{50168570-6382-48D3-92EE-44F5E0C442D5}">
      <dgm:prSet/>
      <dgm:spPr/>
      <dgm:t>
        <a:bodyPr/>
        <a:lstStyle/>
        <a:p>
          <a:endParaRPr lang="en-GB"/>
        </a:p>
      </dgm:t>
    </dgm:pt>
    <dgm:pt modelId="{4D77C4EF-DA87-47FF-87A5-4F41555B4F92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Growth</a:t>
          </a:r>
        </a:p>
      </dgm:t>
    </dgm:pt>
    <dgm:pt modelId="{0F4B431E-75CA-4F00-940B-958CAAB6CE2A}" type="parTrans" cxnId="{CA7C6790-A37D-44AA-A365-2AD2C8AE7D59}">
      <dgm:prSet/>
      <dgm:spPr/>
      <dgm:t>
        <a:bodyPr/>
        <a:lstStyle/>
        <a:p>
          <a:endParaRPr lang="en-GB"/>
        </a:p>
      </dgm:t>
    </dgm:pt>
    <dgm:pt modelId="{2C12530C-5F6C-4043-A2A0-B33AEECE294C}" type="sibTrans" cxnId="{CA7C6790-A37D-44AA-A365-2AD2C8AE7D59}">
      <dgm:prSet/>
      <dgm:spPr/>
      <dgm:t>
        <a:bodyPr/>
        <a:lstStyle/>
        <a:p>
          <a:endParaRPr lang="en-GB"/>
        </a:p>
      </dgm:t>
    </dgm:pt>
    <dgm:pt modelId="{53E42B5D-7854-4511-86A0-AC4836245E53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ROIC</a:t>
          </a:r>
        </a:p>
      </dgm:t>
    </dgm:pt>
    <dgm:pt modelId="{7FCD4836-0A77-4118-B02B-A82078208233}" type="parTrans" cxnId="{E22C6899-E981-490B-A816-22D0CDA51361}">
      <dgm:prSet/>
      <dgm:spPr/>
      <dgm:t>
        <a:bodyPr/>
        <a:lstStyle/>
        <a:p>
          <a:endParaRPr lang="en-GB"/>
        </a:p>
      </dgm:t>
    </dgm:pt>
    <dgm:pt modelId="{D15BE3B1-B641-4598-9335-516C05837103}" type="sibTrans" cxnId="{E22C6899-E981-490B-A816-22D0CDA51361}">
      <dgm:prSet/>
      <dgm:spPr/>
      <dgm:t>
        <a:bodyPr/>
        <a:lstStyle/>
        <a:p>
          <a:endParaRPr lang="en-GB"/>
        </a:p>
      </dgm:t>
    </dgm:pt>
    <dgm:pt modelId="{4DFEDA46-1DE7-45D7-B4A0-1AE74046CC50}" type="pres">
      <dgm:prSet presAssocID="{F09E1544-0990-4FAE-A8D9-409C71E1BB9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CE59546-94CE-4C38-AA8D-9A7F3C274984}" type="pres">
      <dgm:prSet presAssocID="{9FB9B54C-4D67-4377-911D-74531DC8DB5B}" presName="hierRoot1" presStyleCnt="0">
        <dgm:presLayoutVars>
          <dgm:hierBranch/>
        </dgm:presLayoutVars>
      </dgm:prSet>
      <dgm:spPr/>
    </dgm:pt>
    <dgm:pt modelId="{57F68B0B-4A67-4765-B21F-1790C96F770A}" type="pres">
      <dgm:prSet presAssocID="{9FB9B54C-4D67-4377-911D-74531DC8DB5B}" presName="rootComposite1" presStyleCnt="0"/>
      <dgm:spPr/>
    </dgm:pt>
    <dgm:pt modelId="{58C81257-6E37-4A44-A084-BDB3AC5EBF2E}" type="pres">
      <dgm:prSet presAssocID="{9FB9B54C-4D67-4377-911D-74531DC8DB5B}" presName="rootText1" presStyleLbl="node0" presStyleIdx="0" presStyleCnt="1">
        <dgm:presLayoutVars>
          <dgm:chPref val="3"/>
        </dgm:presLayoutVars>
      </dgm:prSet>
      <dgm:spPr/>
    </dgm:pt>
    <dgm:pt modelId="{53587C6F-9AD0-41A5-B931-9A1217F1F882}" type="pres">
      <dgm:prSet presAssocID="{9FB9B54C-4D67-4377-911D-74531DC8DB5B}" presName="rootConnector1" presStyleLbl="node1" presStyleIdx="0" presStyleCnt="0"/>
      <dgm:spPr/>
    </dgm:pt>
    <dgm:pt modelId="{2CACB5E3-91B0-4D60-B0D9-69834A43087A}" type="pres">
      <dgm:prSet presAssocID="{9FB9B54C-4D67-4377-911D-74531DC8DB5B}" presName="hierChild2" presStyleCnt="0"/>
      <dgm:spPr/>
    </dgm:pt>
    <dgm:pt modelId="{23793F25-68D7-4FF6-A14B-4DBC16225FA5}" type="pres">
      <dgm:prSet presAssocID="{0F4B431E-75CA-4F00-940B-958CAAB6CE2A}" presName="Name35" presStyleLbl="parChTrans1D2" presStyleIdx="0" presStyleCnt="2"/>
      <dgm:spPr/>
    </dgm:pt>
    <dgm:pt modelId="{F454765A-ADB0-4267-B6B2-14D9161D091F}" type="pres">
      <dgm:prSet presAssocID="{4D77C4EF-DA87-47FF-87A5-4F41555B4F92}" presName="hierRoot2" presStyleCnt="0">
        <dgm:presLayoutVars>
          <dgm:hierBranch/>
        </dgm:presLayoutVars>
      </dgm:prSet>
      <dgm:spPr/>
    </dgm:pt>
    <dgm:pt modelId="{3437740C-E47A-436E-8135-C67335354980}" type="pres">
      <dgm:prSet presAssocID="{4D77C4EF-DA87-47FF-87A5-4F41555B4F92}" presName="rootComposite" presStyleCnt="0"/>
      <dgm:spPr/>
    </dgm:pt>
    <dgm:pt modelId="{79CA0452-8E7A-4DA4-9864-5C63073C062A}" type="pres">
      <dgm:prSet presAssocID="{4D77C4EF-DA87-47FF-87A5-4F41555B4F92}" presName="rootText" presStyleLbl="node2" presStyleIdx="0" presStyleCnt="2">
        <dgm:presLayoutVars>
          <dgm:chPref val="3"/>
        </dgm:presLayoutVars>
      </dgm:prSet>
      <dgm:spPr/>
    </dgm:pt>
    <dgm:pt modelId="{8991E90D-C2EB-4917-A770-4DE444BC7B8D}" type="pres">
      <dgm:prSet presAssocID="{4D77C4EF-DA87-47FF-87A5-4F41555B4F92}" presName="rootConnector" presStyleLbl="node2" presStyleIdx="0" presStyleCnt="2"/>
      <dgm:spPr/>
    </dgm:pt>
    <dgm:pt modelId="{A3686CCF-3F3A-4F87-9037-099B3801C53E}" type="pres">
      <dgm:prSet presAssocID="{4D77C4EF-DA87-47FF-87A5-4F41555B4F92}" presName="hierChild4" presStyleCnt="0"/>
      <dgm:spPr/>
    </dgm:pt>
    <dgm:pt modelId="{5862CDBD-BA35-468C-85A8-ED36DA801B78}" type="pres">
      <dgm:prSet presAssocID="{4D77C4EF-DA87-47FF-87A5-4F41555B4F92}" presName="hierChild5" presStyleCnt="0"/>
      <dgm:spPr/>
    </dgm:pt>
    <dgm:pt modelId="{49B83DC9-714B-4997-A2F9-B758E1CD6FB6}" type="pres">
      <dgm:prSet presAssocID="{7FCD4836-0A77-4118-B02B-A82078208233}" presName="Name35" presStyleLbl="parChTrans1D2" presStyleIdx="1" presStyleCnt="2"/>
      <dgm:spPr/>
    </dgm:pt>
    <dgm:pt modelId="{B3EC140B-8093-4969-A5E1-4E152176B119}" type="pres">
      <dgm:prSet presAssocID="{53E42B5D-7854-4511-86A0-AC4836245E53}" presName="hierRoot2" presStyleCnt="0">
        <dgm:presLayoutVars>
          <dgm:hierBranch/>
        </dgm:presLayoutVars>
      </dgm:prSet>
      <dgm:spPr/>
    </dgm:pt>
    <dgm:pt modelId="{D39064B6-8C34-4256-BB2D-7E4B3676BAF5}" type="pres">
      <dgm:prSet presAssocID="{53E42B5D-7854-4511-86A0-AC4836245E53}" presName="rootComposite" presStyleCnt="0"/>
      <dgm:spPr/>
    </dgm:pt>
    <dgm:pt modelId="{D9E1F38C-396D-4E1B-92DD-15ED1FACDCC6}" type="pres">
      <dgm:prSet presAssocID="{53E42B5D-7854-4511-86A0-AC4836245E53}" presName="rootText" presStyleLbl="node2" presStyleIdx="1" presStyleCnt="2">
        <dgm:presLayoutVars>
          <dgm:chPref val="3"/>
        </dgm:presLayoutVars>
      </dgm:prSet>
      <dgm:spPr/>
    </dgm:pt>
    <dgm:pt modelId="{687FF433-961B-46B9-BF6E-AC68E1508317}" type="pres">
      <dgm:prSet presAssocID="{53E42B5D-7854-4511-86A0-AC4836245E53}" presName="rootConnector" presStyleLbl="node2" presStyleIdx="1" presStyleCnt="2"/>
      <dgm:spPr/>
    </dgm:pt>
    <dgm:pt modelId="{2DEAE7DD-A1EE-4764-B5CF-081F71810ABD}" type="pres">
      <dgm:prSet presAssocID="{53E42B5D-7854-4511-86A0-AC4836245E53}" presName="hierChild4" presStyleCnt="0"/>
      <dgm:spPr/>
    </dgm:pt>
    <dgm:pt modelId="{0F9A2B97-6281-4A71-A60D-D885E7DE775F}" type="pres">
      <dgm:prSet presAssocID="{53E42B5D-7854-4511-86A0-AC4836245E53}" presName="hierChild5" presStyleCnt="0"/>
      <dgm:spPr/>
    </dgm:pt>
    <dgm:pt modelId="{FB00573C-45C6-4A93-AC0B-F0D7409E6AD7}" type="pres">
      <dgm:prSet presAssocID="{9FB9B54C-4D67-4377-911D-74531DC8DB5B}" presName="hierChild3" presStyleCnt="0"/>
      <dgm:spPr/>
    </dgm:pt>
  </dgm:ptLst>
  <dgm:cxnLst>
    <dgm:cxn modelId="{75558764-0043-4651-8A8B-E96B66BE03A3}" type="presOf" srcId="{4D77C4EF-DA87-47FF-87A5-4F41555B4F92}" destId="{79CA0452-8E7A-4DA4-9864-5C63073C062A}" srcOrd="0" destOrd="0" presId="urn:microsoft.com/office/officeart/2005/8/layout/orgChart1"/>
    <dgm:cxn modelId="{50168570-6382-48D3-92EE-44F5E0C442D5}" srcId="{F09E1544-0990-4FAE-A8D9-409C71E1BB96}" destId="{9FB9B54C-4D67-4377-911D-74531DC8DB5B}" srcOrd="0" destOrd="0" parTransId="{F78BDE16-8784-4030-A387-6CC9E52005EA}" sibTransId="{C39EFCB9-0930-4834-A4CA-13201F14CAAC}"/>
    <dgm:cxn modelId="{355D2556-4640-40AA-BFBB-D5BBA2788028}" type="presOf" srcId="{53E42B5D-7854-4511-86A0-AC4836245E53}" destId="{687FF433-961B-46B9-BF6E-AC68E1508317}" srcOrd="1" destOrd="0" presId="urn:microsoft.com/office/officeart/2005/8/layout/orgChart1"/>
    <dgm:cxn modelId="{A4FA1280-CEAA-4C0E-A341-9E17C0FEAE72}" type="presOf" srcId="{9FB9B54C-4D67-4377-911D-74531DC8DB5B}" destId="{53587C6F-9AD0-41A5-B931-9A1217F1F882}" srcOrd="1" destOrd="0" presId="urn:microsoft.com/office/officeart/2005/8/layout/orgChart1"/>
    <dgm:cxn modelId="{BDE99287-FA3E-4C4C-B16D-97DACA52668F}" type="presOf" srcId="{7FCD4836-0A77-4118-B02B-A82078208233}" destId="{49B83DC9-714B-4997-A2F9-B758E1CD6FB6}" srcOrd="0" destOrd="0" presId="urn:microsoft.com/office/officeart/2005/8/layout/orgChart1"/>
    <dgm:cxn modelId="{CA7C6790-A37D-44AA-A365-2AD2C8AE7D59}" srcId="{9FB9B54C-4D67-4377-911D-74531DC8DB5B}" destId="{4D77C4EF-DA87-47FF-87A5-4F41555B4F92}" srcOrd="0" destOrd="0" parTransId="{0F4B431E-75CA-4F00-940B-958CAAB6CE2A}" sibTransId="{2C12530C-5F6C-4043-A2A0-B33AEECE294C}"/>
    <dgm:cxn modelId="{E22C6899-E981-490B-A816-22D0CDA51361}" srcId="{9FB9B54C-4D67-4377-911D-74531DC8DB5B}" destId="{53E42B5D-7854-4511-86A0-AC4836245E53}" srcOrd="1" destOrd="0" parTransId="{7FCD4836-0A77-4118-B02B-A82078208233}" sibTransId="{D15BE3B1-B641-4598-9335-516C05837103}"/>
    <dgm:cxn modelId="{8647F1A1-173D-4882-A8BB-A461E156D785}" type="presOf" srcId="{53E42B5D-7854-4511-86A0-AC4836245E53}" destId="{D9E1F38C-396D-4E1B-92DD-15ED1FACDCC6}" srcOrd="0" destOrd="0" presId="urn:microsoft.com/office/officeart/2005/8/layout/orgChart1"/>
    <dgm:cxn modelId="{C0A6B5BB-D3F6-420C-8631-ED6CE5DD17CA}" type="presOf" srcId="{F09E1544-0990-4FAE-A8D9-409C71E1BB96}" destId="{4DFEDA46-1DE7-45D7-B4A0-1AE74046CC50}" srcOrd="0" destOrd="0" presId="urn:microsoft.com/office/officeart/2005/8/layout/orgChart1"/>
    <dgm:cxn modelId="{9F143BD8-22D1-4500-87A9-12642DB325C1}" type="presOf" srcId="{9FB9B54C-4D67-4377-911D-74531DC8DB5B}" destId="{58C81257-6E37-4A44-A084-BDB3AC5EBF2E}" srcOrd="0" destOrd="0" presId="urn:microsoft.com/office/officeart/2005/8/layout/orgChart1"/>
    <dgm:cxn modelId="{C7B2AFE4-F21C-4281-B1E7-AFF8A3665B0F}" type="presOf" srcId="{4D77C4EF-DA87-47FF-87A5-4F41555B4F92}" destId="{8991E90D-C2EB-4917-A770-4DE444BC7B8D}" srcOrd="1" destOrd="0" presId="urn:microsoft.com/office/officeart/2005/8/layout/orgChart1"/>
    <dgm:cxn modelId="{3C565FF5-3976-4873-8775-F1A51DD99C7E}" type="presOf" srcId="{0F4B431E-75CA-4F00-940B-958CAAB6CE2A}" destId="{23793F25-68D7-4FF6-A14B-4DBC16225FA5}" srcOrd="0" destOrd="0" presId="urn:microsoft.com/office/officeart/2005/8/layout/orgChart1"/>
    <dgm:cxn modelId="{1DD6D91B-3EAF-4BBA-830E-B8F04EB2900E}" type="presParOf" srcId="{4DFEDA46-1DE7-45D7-B4A0-1AE74046CC50}" destId="{FCE59546-94CE-4C38-AA8D-9A7F3C274984}" srcOrd="0" destOrd="0" presId="urn:microsoft.com/office/officeart/2005/8/layout/orgChart1"/>
    <dgm:cxn modelId="{2197F5BB-88ED-43DC-8818-2CA1437CEB17}" type="presParOf" srcId="{FCE59546-94CE-4C38-AA8D-9A7F3C274984}" destId="{57F68B0B-4A67-4765-B21F-1790C96F770A}" srcOrd="0" destOrd="0" presId="urn:microsoft.com/office/officeart/2005/8/layout/orgChart1"/>
    <dgm:cxn modelId="{9D1C0084-FF1D-43F0-AE0C-AB2B0E61799A}" type="presParOf" srcId="{57F68B0B-4A67-4765-B21F-1790C96F770A}" destId="{58C81257-6E37-4A44-A084-BDB3AC5EBF2E}" srcOrd="0" destOrd="0" presId="urn:microsoft.com/office/officeart/2005/8/layout/orgChart1"/>
    <dgm:cxn modelId="{FD437CC2-C46B-4F21-9453-877D1EE58B0E}" type="presParOf" srcId="{57F68B0B-4A67-4765-B21F-1790C96F770A}" destId="{53587C6F-9AD0-41A5-B931-9A1217F1F882}" srcOrd="1" destOrd="0" presId="urn:microsoft.com/office/officeart/2005/8/layout/orgChart1"/>
    <dgm:cxn modelId="{EDC99168-FEC0-48CB-9E54-996550DD331E}" type="presParOf" srcId="{FCE59546-94CE-4C38-AA8D-9A7F3C274984}" destId="{2CACB5E3-91B0-4D60-B0D9-69834A43087A}" srcOrd="1" destOrd="0" presId="urn:microsoft.com/office/officeart/2005/8/layout/orgChart1"/>
    <dgm:cxn modelId="{4082426D-7753-4969-950B-4AB08B607957}" type="presParOf" srcId="{2CACB5E3-91B0-4D60-B0D9-69834A43087A}" destId="{23793F25-68D7-4FF6-A14B-4DBC16225FA5}" srcOrd="0" destOrd="0" presId="urn:microsoft.com/office/officeart/2005/8/layout/orgChart1"/>
    <dgm:cxn modelId="{AEF8ECF7-C4FE-4F9E-8D0F-6F3C2928441D}" type="presParOf" srcId="{2CACB5E3-91B0-4D60-B0D9-69834A43087A}" destId="{F454765A-ADB0-4267-B6B2-14D9161D091F}" srcOrd="1" destOrd="0" presId="urn:microsoft.com/office/officeart/2005/8/layout/orgChart1"/>
    <dgm:cxn modelId="{2BD14E38-5DC0-49BF-A49B-217331DBA74B}" type="presParOf" srcId="{F454765A-ADB0-4267-B6B2-14D9161D091F}" destId="{3437740C-E47A-436E-8135-C67335354980}" srcOrd="0" destOrd="0" presId="urn:microsoft.com/office/officeart/2005/8/layout/orgChart1"/>
    <dgm:cxn modelId="{F32149A6-F441-407E-A5BF-73F9B9D05EA6}" type="presParOf" srcId="{3437740C-E47A-436E-8135-C67335354980}" destId="{79CA0452-8E7A-4DA4-9864-5C63073C062A}" srcOrd="0" destOrd="0" presId="urn:microsoft.com/office/officeart/2005/8/layout/orgChart1"/>
    <dgm:cxn modelId="{CA94F75C-CA40-4A41-8637-32DA0BFD3684}" type="presParOf" srcId="{3437740C-E47A-436E-8135-C67335354980}" destId="{8991E90D-C2EB-4917-A770-4DE444BC7B8D}" srcOrd="1" destOrd="0" presId="urn:microsoft.com/office/officeart/2005/8/layout/orgChart1"/>
    <dgm:cxn modelId="{24168203-73DF-4F64-9F87-C6DA3BE9F16D}" type="presParOf" srcId="{F454765A-ADB0-4267-B6B2-14D9161D091F}" destId="{A3686CCF-3F3A-4F87-9037-099B3801C53E}" srcOrd="1" destOrd="0" presId="urn:microsoft.com/office/officeart/2005/8/layout/orgChart1"/>
    <dgm:cxn modelId="{ADDB491A-4DC1-462C-9781-CE5BDF9E2FFE}" type="presParOf" srcId="{F454765A-ADB0-4267-B6B2-14D9161D091F}" destId="{5862CDBD-BA35-468C-85A8-ED36DA801B78}" srcOrd="2" destOrd="0" presId="urn:microsoft.com/office/officeart/2005/8/layout/orgChart1"/>
    <dgm:cxn modelId="{EA76A634-C6A3-4817-8463-5056D42991F9}" type="presParOf" srcId="{2CACB5E3-91B0-4D60-B0D9-69834A43087A}" destId="{49B83DC9-714B-4997-A2F9-B758E1CD6FB6}" srcOrd="2" destOrd="0" presId="urn:microsoft.com/office/officeart/2005/8/layout/orgChart1"/>
    <dgm:cxn modelId="{E0212CA4-CFBA-4742-B8AA-4A69746A5C66}" type="presParOf" srcId="{2CACB5E3-91B0-4D60-B0D9-69834A43087A}" destId="{B3EC140B-8093-4969-A5E1-4E152176B119}" srcOrd="3" destOrd="0" presId="urn:microsoft.com/office/officeart/2005/8/layout/orgChart1"/>
    <dgm:cxn modelId="{B1899D2F-D9AE-426E-B527-AE0C18B6B55D}" type="presParOf" srcId="{B3EC140B-8093-4969-A5E1-4E152176B119}" destId="{D39064B6-8C34-4256-BB2D-7E4B3676BAF5}" srcOrd="0" destOrd="0" presId="urn:microsoft.com/office/officeart/2005/8/layout/orgChart1"/>
    <dgm:cxn modelId="{943CE856-6E3C-4C3C-B980-4EFE97A96B4E}" type="presParOf" srcId="{D39064B6-8C34-4256-BB2D-7E4B3676BAF5}" destId="{D9E1F38C-396D-4E1B-92DD-15ED1FACDCC6}" srcOrd="0" destOrd="0" presId="urn:microsoft.com/office/officeart/2005/8/layout/orgChart1"/>
    <dgm:cxn modelId="{2D808E8A-75C6-4541-9B6A-6F2921FAF67A}" type="presParOf" srcId="{D39064B6-8C34-4256-BB2D-7E4B3676BAF5}" destId="{687FF433-961B-46B9-BF6E-AC68E1508317}" srcOrd="1" destOrd="0" presId="urn:microsoft.com/office/officeart/2005/8/layout/orgChart1"/>
    <dgm:cxn modelId="{6E78DAE4-226A-4518-AE4A-F73A7A8548EF}" type="presParOf" srcId="{B3EC140B-8093-4969-A5E1-4E152176B119}" destId="{2DEAE7DD-A1EE-4764-B5CF-081F71810ABD}" srcOrd="1" destOrd="0" presId="urn:microsoft.com/office/officeart/2005/8/layout/orgChart1"/>
    <dgm:cxn modelId="{05A07B18-4582-40AC-B506-A9ACE47D6E06}" type="presParOf" srcId="{B3EC140B-8093-4969-A5E1-4E152176B119}" destId="{0F9A2B97-6281-4A71-A60D-D885E7DE775F}" srcOrd="2" destOrd="0" presId="urn:microsoft.com/office/officeart/2005/8/layout/orgChart1"/>
    <dgm:cxn modelId="{A561327F-1BA6-42F3-8EED-90E8A529A93F}" type="presParOf" srcId="{FCE59546-94CE-4C38-AA8D-9A7F3C274984}" destId="{FB00573C-45C6-4A93-AC0B-F0D7409E6AD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59BD600-95EE-47C9-9B6D-1CDC0D38D448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/>
      <dgm:spPr/>
    </dgm:pt>
    <dgm:pt modelId="{BD7AC05A-50D7-40D1-A944-FB492C93E18F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ROIC</a:t>
          </a:r>
        </a:p>
      </dgm:t>
    </dgm:pt>
    <dgm:pt modelId="{578D8597-56A1-4FC4-A401-964803E1E120}" type="parTrans" cxnId="{B8458CA5-1C7F-4723-961A-D58674B6D2F2}">
      <dgm:prSet/>
      <dgm:spPr/>
    </dgm:pt>
    <dgm:pt modelId="{C7456B25-BAF4-4D7B-BE7D-7A9748FEFC81}" type="sibTrans" cxnId="{B8458CA5-1C7F-4723-961A-D58674B6D2F2}">
      <dgm:prSet/>
      <dgm:spPr/>
    </dgm:pt>
    <dgm:pt modelId="{5915C066-FAC6-44D7-9E4D-0AB7C919CF5C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NOPLAT</a:t>
          </a:r>
        </a:p>
      </dgm:t>
    </dgm:pt>
    <dgm:pt modelId="{A3D51345-C3AD-41B1-BC4C-B7BF92223F73}" type="parTrans" cxnId="{E7CE4287-21FB-4D31-9A82-EE65336AE816}">
      <dgm:prSet/>
      <dgm:spPr/>
    </dgm:pt>
    <dgm:pt modelId="{E2E226FB-3D2E-404A-AD28-E5788835F97B}" type="sibTrans" cxnId="{E7CE4287-21FB-4D31-9A82-EE65336AE816}">
      <dgm:prSet/>
      <dgm:spPr/>
    </dgm:pt>
    <dgm:pt modelId="{FBBD28C9-5E8D-45A2-A0AB-6D17F2304B84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Revenues</a:t>
          </a:r>
        </a:p>
      </dgm:t>
    </dgm:pt>
    <dgm:pt modelId="{E643F652-44EA-45F2-A02B-D2F6E0FF1951}" type="parTrans" cxnId="{C8DE06A3-6F2D-4821-A71F-37F0BE260A74}">
      <dgm:prSet/>
      <dgm:spPr/>
    </dgm:pt>
    <dgm:pt modelId="{19871FCC-545A-4ED5-A8E1-49D706805FA0}" type="sibTrans" cxnId="{C8DE06A3-6F2D-4821-A71F-37F0BE260A74}">
      <dgm:prSet/>
      <dgm:spPr/>
    </dgm:pt>
    <dgm:pt modelId="{DB135263-9990-459F-81BE-61F46022C54D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Costs</a:t>
          </a:r>
        </a:p>
      </dgm:t>
    </dgm:pt>
    <dgm:pt modelId="{61DE2297-277A-47C2-ABB1-AE6382F5ACC6}" type="parTrans" cxnId="{C233D962-4CAD-4A99-BCFA-63B51ECBD3D3}">
      <dgm:prSet/>
      <dgm:spPr/>
    </dgm:pt>
    <dgm:pt modelId="{3B44BA30-195B-4A4D-9309-85C3FBB56E49}" type="sibTrans" cxnId="{C233D962-4CAD-4A99-BCFA-63B51ECBD3D3}">
      <dgm:prSet/>
      <dgm:spPr/>
    </dgm:pt>
    <dgm:pt modelId="{EEBE8A82-685A-4E6D-9BEF-9DB56EB483C8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COGS</a:t>
          </a:r>
        </a:p>
      </dgm:t>
    </dgm:pt>
    <dgm:pt modelId="{1665DC18-2C72-444F-994D-2A79BBB0033B}" type="parTrans" cxnId="{47C9C556-295F-4007-B606-6839A6DAFDD8}">
      <dgm:prSet/>
      <dgm:spPr/>
    </dgm:pt>
    <dgm:pt modelId="{44F704E7-9249-4ADC-9AC6-8556F0336DA6}" type="sibTrans" cxnId="{47C9C556-295F-4007-B606-6839A6DAFDD8}">
      <dgm:prSet/>
      <dgm:spPr/>
    </dgm:pt>
    <dgm:pt modelId="{36899841-DAB1-408D-810C-779F661E4A6C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SG&amp;A</a:t>
          </a:r>
        </a:p>
      </dgm:t>
    </dgm:pt>
    <dgm:pt modelId="{158BA410-4942-4C12-9615-C05C9BCA3363}" type="parTrans" cxnId="{B1C3B81C-7E83-4446-AFA5-7194059E2C38}">
      <dgm:prSet/>
      <dgm:spPr/>
    </dgm:pt>
    <dgm:pt modelId="{F46A4354-6E95-446D-95F5-120E598F6EB7}" type="sibTrans" cxnId="{B1C3B81C-7E83-4446-AFA5-7194059E2C38}">
      <dgm:prSet/>
      <dgm:spPr/>
    </dgm:pt>
    <dgm:pt modelId="{950FD852-2EF9-4A6F-A886-C004A5EE4935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Taxes</a:t>
          </a:r>
        </a:p>
      </dgm:t>
    </dgm:pt>
    <dgm:pt modelId="{A07E1898-A232-4B1B-B825-AB268F016DA5}" type="parTrans" cxnId="{7FCF14A6-89CB-479B-AE2E-7C745E4A272D}">
      <dgm:prSet/>
      <dgm:spPr/>
    </dgm:pt>
    <dgm:pt modelId="{44A63BA6-C052-44B6-9902-29D225C04F29}" type="sibTrans" cxnId="{7FCF14A6-89CB-479B-AE2E-7C745E4A272D}">
      <dgm:prSet/>
      <dgm:spPr/>
    </dgm:pt>
    <dgm:pt modelId="{EED1171D-3ABA-4B94-AD4E-4596D03CBFF5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IC</a:t>
          </a:r>
        </a:p>
      </dgm:t>
    </dgm:pt>
    <dgm:pt modelId="{EE361B56-47D5-4AE8-9725-05CD6AF244A9}" type="parTrans" cxnId="{2EB99A26-BBBB-48F4-993C-22ED40D3375D}">
      <dgm:prSet/>
      <dgm:spPr/>
    </dgm:pt>
    <dgm:pt modelId="{AEB684E7-DDAB-43F7-B6EC-482AC73A1FF5}" type="sibTrans" cxnId="{2EB99A26-BBBB-48F4-993C-22ED40D3375D}">
      <dgm:prSet/>
      <dgm:spPr/>
    </dgm:pt>
    <dgm:pt modelId="{96AE9966-14AA-4D69-8E2E-3435D993EBED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NET PP&amp;E</a:t>
          </a:r>
        </a:p>
      </dgm:t>
    </dgm:pt>
    <dgm:pt modelId="{EB0AF5EC-25D3-4EB0-9C19-4B6A9C7DCDED}" type="parTrans" cxnId="{1E066669-B871-458A-9730-8062A0D928E1}">
      <dgm:prSet/>
      <dgm:spPr/>
    </dgm:pt>
    <dgm:pt modelId="{111D2BE5-53E5-4046-9E78-2B50F3BCDF90}" type="sibTrans" cxnId="{1E066669-B871-458A-9730-8062A0D928E1}">
      <dgm:prSet/>
      <dgm:spPr/>
    </dgm:pt>
    <dgm:pt modelId="{2B8B2D86-4A3E-4C8E-A46B-E971EF8D2AFB}">
      <dgm:prSet/>
      <dgm:spPr/>
      <dgm:t>
        <a:bodyPr/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Working capital</a:t>
          </a:r>
        </a:p>
      </dgm:t>
    </dgm:pt>
    <dgm:pt modelId="{369247C3-DAEA-4E80-8EC4-C6C34E8B7E45}" type="parTrans" cxnId="{7B759E49-256D-4475-8C99-42BFD8AD514E}">
      <dgm:prSet/>
      <dgm:spPr/>
    </dgm:pt>
    <dgm:pt modelId="{4A2493AC-D16F-412A-99FD-16C16AFDBF09}" type="sibTrans" cxnId="{7B759E49-256D-4475-8C99-42BFD8AD514E}">
      <dgm:prSet/>
      <dgm:spPr/>
    </dgm:pt>
    <dgm:pt modelId="{B897464A-AA67-4592-B5D7-F396288540F3}" type="pres">
      <dgm:prSet presAssocID="{759BD600-95EE-47C9-9B6D-1CDC0D38D44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4F65C38-B09D-476F-96B0-0EEAC1C22271}" type="pres">
      <dgm:prSet presAssocID="{BD7AC05A-50D7-40D1-A944-FB492C93E18F}" presName="hierRoot1" presStyleCnt="0">
        <dgm:presLayoutVars>
          <dgm:hierBranch/>
        </dgm:presLayoutVars>
      </dgm:prSet>
      <dgm:spPr/>
    </dgm:pt>
    <dgm:pt modelId="{ED9433BB-CE96-4BFA-AB03-29B2AAF3C521}" type="pres">
      <dgm:prSet presAssocID="{BD7AC05A-50D7-40D1-A944-FB492C93E18F}" presName="rootComposite1" presStyleCnt="0"/>
      <dgm:spPr/>
    </dgm:pt>
    <dgm:pt modelId="{DA6FFCCB-7578-4B33-94A3-867C6A402211}" type="pres">
      <dgm:prSet presAssocID="{BD7AC05A-50D7-40D1-A944-FB492C93E18F}" presName="rootText1" presStyleLbl="node0" presStyleIdx="0" presStyleCnt="1">
        <dgm:presLayoutVars>
          <dgm:chPref val="3"/>
        </dgm:presLayoutVars>
      </dgm:prSet>
      <dgm:spPr/>
    </dgm:pt>
    <dgm:pt modelId="{0EB4BABF-EE64-4B6C-AF16-970D20F685E4}" type="pres">
      <dgm:prSet presAssocID="{BD7AC05A-50D7-40D1-A944-FB492C93E18F}" presName="rootConnector1" presStyleLbl="node1" presStyleIdx="0" presStyleCnt="0"/>
      <dgm:spPr/>
    </dgm:pt>
    <dgm:pt modelId="{F63ADE42-F37D-44F3-8A54-BFDF493B1546}" type="pres">
      <dgm:prSet presAssocID="{BD7AC05A-50D7-40D1-A944-FB492C93E18F}" presName="hierChild2" presStyleCnt="0"/>
      <dgm:spPr/>
    </dgm:pt>
    <dgm:pt modelId="{AD7838FC-1B55-452D-9F5B-7C12277CE05A}" type="pres">
      <dgm:prSet presAssocID="{A3D51345-C3AD-41B1-BC4C-B7BF92223F73}" presName="Name35" presStyleLbl="parChTrans1D2" presStyleIdx="0" presStyleCnt="2"/>
      <dgm:spPr/>
    </dgm:pt>
    <dgm:pt modelId="{70302250-6B3B-40E5-A511-A2FCE2807546}" type="pres">
      <dgm:prSet presAssocID="{5915C066-FAC6-44D7-9E4D-0AB7C919CF5C}" presName="hierRoot2" presStyleCnt="0">
        <dgm:presLayoutVars>
          <dgm:hierBranch/>
        </dgm:presLayoutVars>
      </dgm:prSet>
      <dgm:spPr/>
    </dgm:pt>
    <dgm:pt modelId="{9530CAF5-81FE-470B-BFBA-EF32520B3150}" type="pres">
      <dgm:prSet presAssocID="{5915C066-FAC6-44D7-9E4D-0AB7C919CF5C}" presName="rootComposite" presStyleCnt="0"/>
      <dgm:spPr/>
    </dgm:pt>
    <dgm:pt modelId="{480AB5D3-355C-4B60-9B61-67161055676A}" type="pres">
      <dgm:prSet presAssocID="{5915C066-FAC6-44D7-9E4D-0AB7C919CF5C}" presName="rootText" presStyleLbl="node2" presStyleIdx="0" presStyleCnt="2">
        <dgm:presLayoutVars>
          <dgm:chPref val="3"/>
        </dgm:presLayoutVars>
      </dgm:prSet>
      <dgm:spPr/>
    </dgm:pt>
    <dgm:pt modelId="{AA2005B7-CF38-42E9-9823-004E3E80F36A}" type="pres">
      <dgm:prSet presAssocID="{5915C066-FAC6-44D7-9E4D-0AB7C919CF5C}" presName="rootConnector" presStyleLbl="node2" presStyleIdx="0" presStyleCnt="2"/>
      <dgm:spPr/>
    </dgm:pt>
    <dgm:pt modelId="{472B8401-538E-4377-A245-7D4D49F918BE}" type="pres">
      <dgm:prSet presAssocID="{5915C066-FAC6-44D7-9E4D-0AB7C919CF5C}" presName="hierChild4" presStyleCnt="0"/>
      <dgm:spPr/>
    </dgm:pt>
    <dgm:pt modelId="{351ECD11-40D4-458D-BF7C-595280EB99E7}" type="pres">
      <dgm:prSet presAssocID="{E643F652-44EA-45F2-A02B-D2F6E0FF1951}" presName="Name35" presStyleLbl="parChTrans1D3" presStyleIdx="0" presStyleCnt="5"/>
      <dgm:spPr/>
    </dgm:pt>
    <dgm:pt modelId="{9D87D8F7-2504-4108-8B86-68998C7996FF}" type="pres">
      <dgm:prSet presAssocID="{FBBD28C9-5E8D-45A2-A0AB-6D17F2304B84}" presName="hierRoot2" presStyleCnt="0">
        <dgm:presLayoutVars>
          <dgm:hierBranch val="r"/>
        </dgm:presLayoutVars>
      </dgm:prSet>
      <dgm:spPr/>
    </dgm:pt>
    <dgm:pt modelId="{C866C700-AC34-434B-9C24-BF84938AE7A3}" type="pres">
      <dgm:prSet presAssocID="{FBBD28C9-5E8D-45A2-A0AB-6D17F2304B84}" presName="rootComposite" presStyleCnt="0"/>
      <dgm:spPr/>
    </dgm:pt>
    <dgm:pt modelId="{AABD5265-CE8F-427E-876B-42E480B23C10}" type="pres">
      <dgm:prSet presAssocID="{FBBD28C9-5E8D-45A2-A0AB-6D17F2304B84}" presName="rootText" presStyleLbl="node3" presStyleIdx="0" presStyleCnt="5">
        <dgm:presLayoutVars>
          <dgm:chPref val="3"/>
        </dgm:presLayoutVars>
      </dgm:prSet>
      <dgm:spPr/>
    </dgm:pt>
    <dgm:pt modelId="{70E2F9B7-8C17-4018-BD37-E6102D3CF864}" type="pres">
      <dgm:prSet presAssocID="{FBBD28C9-5E8D-45A2-A0AB-6D17F2304B84}" presName="rootConnector" presStyleLbl="node3" presStyleIdx="0" presStyleCnt="5"/>
      <dgm:spPr/>
    </dgm:pt>
    <dgm:pt modelId="{4D861EA2-D5E8-4AB2-8113-FF5ABCF015A6}" type="pres">
      <dgm:prSet presAssocID="{FBBD28C9-5E8D-45A2-A0AB-6D17F2304B84}" presName="hierChild4" presStyleCnt="0"/>
      <dgm:spPr/>
    </dgm:pt>
    <dgm:pt modelId="{2D39E421-66AC-4841-B428-5BF0D2E2D34B}" type="pres">
      <dgm:prSet presAssocID="{FBBD28C9-5E8D-45A2-A0AB-6D17F2304B84}" presName="hierChild5" presStyleCnt="0"/>
      <dgm:spPr/>
    </dgm:pt>
    <dgm:pt modelId="{BBF21B0B-BF12-47D0-9222-AF9F49DA5731}" type="pres">
      <dgm:prSet presAssocID="{61DE2297-277A-47C2-ABB1-AE6382F5ACC6}" presName="Name35" presStyleLbl="parChTrans1D3" presStyleIdx="1" presStyleCnt="5"/>
      <dgm:spPr/>
    </dgm:pt>
    <dgm:pt modelId="{31390744-47A0-4091-8643-36690A8F4831}" type="pres">
      <dgm:prSet presAssocID="{DB135263-9990-459F-81BE-61F46022C54D}" presName="hierRoot2" presStyleCnt="0">
        <dgm:presLayoutVars>
          <dgm:hierBranch val="r"/>
        </dgm:presLayoutVars>
      </dgm:prSet>
      <dgm:spPr/>
    </dgm:pt>
    <dgm:pt modelId="{69D9CB61-97C2-4A16-BCA1-B232208266B0}" type="pres">
      <dgm:prSet presAssocID="{DB135263-9990-459F-81BE-61F46022C54D}" presName="rootComposite" presStyleCnt="0"/>
      <dgm:spPr/>
    </dgm:pt>
    <dgm:pt modelId="{84061370-C2E6-408E-A961-2A52B49534BA}" type="pres">
      <dgm:prSet presAssocID="{DB135263-9990-459F-81BE-61F46022C54D}" presName="rootText" presStyleLbl="node3" presStyleIdx="1" presStyleCnt="5">
        <dgm:presLayoutVars>
          <dgm:chPref val="3"/>
        </dgm:presLayoutVars>
      </dgm:prSet>
      <dgm:spPr/>
    </dgm:pt>
    <dgm:pt modelId="{92BB8DDC-CBDA-4954-92DE-37DB7ED7374B}" type="pres">
      <dgm:prSet presAssocID="{DB135263-9990-459F-81BE-61F46022C54D}" presName="rootConnector" presStyleLbl="node3" presStyleIdx="1" presStyleCnt="5"/>
      <dgm:spPr/>
    </dgm:pt>
    <dgm:pt modelId="{DE609981-D416-4D18-BEDC-A21652E9C63A}" type="pres">
      <dgm:prSet presAssocID="{DB135263-9990-459F-81BE-61F46022C54D}" presName="hierChild4" presStyleCnt="0"/>
      <dgm:spPr/>
    </dgm:pt>
    <dgm:pt modelId="{382F5E2D-4288-4521-BBB6-FE5AB731C3EE}" type="pres">
      <dgm:prSet presAssocID="{1665DC18-2C72-444F-994D-2A79BBB0033B}" presName="Name50" presStyleLbl="parChTrans1D4" presStyleIdx="0" presStyleCnt="2"/>
      <dgm:spPr/>
    </dgm:pt>
    <dgm:pt modelId="{EC1037CC-4821-435E-9645-269D3D28FFCC}" type="pres">
      <dgm:prSet presAssocID="{EEBE8A82-685A-4E6D-9BEF-9DB56EB483C8}" presName="hierRoot2" presStyleCnt="0">
        <dgm:presLayoutVars>
          <dgm:hierBranch val="r"/>
        </dgm:presLayoutVars>
      </dgm:prSet>
      <dgm:spPr/>
    </dgm:pt>
    <dgm:pt modelId="{1381134B-0D97-4FCA-AC65-9E5C69BED731}" type="pres">
      <dgm:prSet presAssocID="{EEBE8A82-685A-4E6D-9BEF-9DB56EB483C8}" presName="rootComposite" presStyleCnt="0"/>
      <dgm:spPr/>
    </dgm:pt>
    <dgm:pt modelId="{7AF39878-0CE9-4349-8A21-21FB4547A6D8}" type="pres">
      <dgm:prSet presAssocID="{EEBE8A82-685A-4E6D-9BEF-9DB56EB483C8}" presName="rootText" presStyleLbl="node4" presStyleIdx="0" presStyleCnt="2">
        <dgm:presLayoutVars>
          <dgm:chPref val="3"/>
        </dgm:presLayoutVars>
      </dgm:prSet>
      <dgm:spPr/>
    </dgm:pt>
    <dgm:pt modelId="{87BA169F-CCC5-4A2C-8DE8-227FD985FDE3}" type="pres">
      <dgm:prSet presAssocID="{EEBE8A82-685A-4E6D-9BEF-9DB56EB483C8}" presName="rootConnector" presStyleLbl="node4" presStyleIdx="0" presStyleCnt="2"/>
      <dgm:spPr/>
    </dgm:pt>
    <dgm:pt modelId="{CE5615E8-94BE-4E1A-BBEC-934B6683B8E9}" type="pres">
      <dgm:prSet presAssocID="{EEBE8A82-685A-4E6D-9BEF-9DB56EB483C8}" presName="hierChild4" presStyleCnt="0"/>
      <dgm:spPr/>
    </dgm:pt>
    <dgm:pt modelId="{79736B64-76FD-47CE-B167-C35513D9E025}" type="pres">
      <dgm:prSet presAssocID="{EEBE8A82-685A-4E6D-9BEF-9DB56EB483C8}" presName="hierChild5" presStyleCnt="0"/>
      <dgm:spPr/>
    </dgm:pt>
    <dgm:pt modelId="{E7BD134B-93F4-4B8C-8B58-7D25A471567E}" type="pres">
      <dgm:prSet presAssocID="{158BA410-4942-4C12-9615-C05C9BCA3363}" presName="Name50" presStyleLbl="parChTrans1D4" presStyleIdx="1" presStyleCnt="2"/>
      <dgm:spPr/>
    </dgm:pt>
    <dgm:pt modelId="{44875A35-3497-4124-B056-D89802E33C7C}" type="pres">
      <dgm:prSet presAssocID="{36899841-DAB1-408D-810C-779F661E4A6C}" presName="hierRoot2" presStyleCnt="0">
        <dgm:presLayoutVars>
          <dgm:hierBranch val="r"/>
        </dgm:presLayoutVars>
      </dgm:prSet>
      <dgm:spPr/>
    </dgm:pt>
    <dgm:pt modelId="{746A1665-C09F-4A97-B417-695856E44D0D}" type="pres">
      <dgm:prSet presAssocID="{36899841-DAB1-408D-810C-779F661E4A6C}" presName="rootComposite" presStyleCnt="0"/>
      <dgm:spPr/>
    </dgm:pt>
    <dgm:pt modelId="{09E994C1-445C-4ECD-BA71-24ABF8F7AF8B}" type="pres">
      <dgm:prSet presAssocID="{36899841-DAB1-408D-810C-779F661E4A6C}" presName="rootText" presStyleLbl="node4" presStyleIdx="1" presStyleCnt="2">
        <dgm:presLayoutVars>
          <dgm:chPref val="3"/>
        </dgm:presLayoutVars>
      </dgm:prSet>
      <dgm:spPr/>
    </dgm:pt>
    <dgm:pt modelId="{B79366B3-8C1B-45A3-9881-CE91AC2445AC}" type="pres">
      <dgm:prSet presAssocID="{36899841-DAB1-408D-810C-779F661E4A6C}" presName="rootConnector" presStyleLbl="node4" presStyleIdx="1" presStyleCnt="2"/>
      <dgm:spPr/>
    </dgm:pt>
    <dgm:pt modelId="{DB3D5F5A-D9F0-4AA8-BD04-FF264DCB94A5}" type="pres">
      <dgm:prSet presAssocID="{36899841-DAB1-408D-810C-779F661E4A6C}" presName="hierChild4" presStyleCnt="0"/>
      <dgm:spPr/>
    </dgm:pt>
    <dgm:pt modelId="{FFE08F9A-B9BE-4B12-A724-EB12B0C533C3}" type="pres">
      <dgm:prSet presAssocID="{36899841-DAB1-408D-810C-779F661E4A6C}" presName="hierChild5" presStyleCnt="0"/>
      <dgm:spPr/>
    </dgm:pt>
    <dgm:pt modelId="{D979AA08-A0A6-4795-A674-542F7320B973}" type="pres">
      <dgm:prSet presAssocID="{DB135263-9990-459F-81BE-61F46022C54D}" presName="hierChild5" presStyleCnt="0"/>
      <dgm:spPr/>
    </dgm:pt>
    <dgm:pt modelId="{F3612F13-CF91-444A-B1AF-F8DC7CFB9B48}" type="pres">
      <dgm:prSet presAssocID="{A07E1898-A232-4B1B-B825-AB268F016DA5}" presName="Name35" presStyleLbl="parChTrans1D3" presStyleIdx="2" presStyleCnt="5"/>
      <dgm:spPr/>
    </dgm:pt>
    <dgm:pt modelId="{1B23A996-618D-4813-845B-928D8A7B28EE}" type="pres">
      <dgm:prSet presAssocID="{950FD852-2EF9-4A6F-A886-C004A5EE4935}" presName="hierRoot2" presStyleCnt="0">
        <dgm:presLayoutVars>
          <dgm:hierBranch val="r"/>
        </dgm:presLayoutVars>
      </dgm:prSet>
      <dgm:spPr/>
    </dgm:pt>
    <dgm:pt modelId="{246F2159-2C7E-438A-897B-FBBE34691D07}" type="pres">
      <dgm:prSet presAssocID="{950FD852-2EF9-4A6F-A886-C004A5EE4935}" presName="rootComposite" presStyleCnt="0"/>
      <dgm:spPr/>
    </dgm:pt>
    <dgm:pt modelId="{CC7BDBB5-EE49-4BDD-9940-0CF9FE2B49BB}" type="pres">
      <dgm:prSet presAssocID="{950FD852-2EF9-4A6F-A886-C004A5EE4935}" presName="rootText" presStyleLbl="node3" presStyleIdx="2" presStyleCnt="5">
        <dgm:presLayoutVars>
          <dgm:chPref val="3"/>
        </dgm:presLayoutVars>
      </dgm:prSet>
      <dgm:spPr/>
    </dgm:pt>
    <dgm:pt modelId="{499A0079-9EB8-4184-BBBB-341A69D1F90F}" type="pres">
      <dgm:prSet presAssocID="{950FD852-2EF9-4A6F-A886-C004A5EE4935}" presName="rootConnector" presStyleLbl="node3" presStyleIdx="2" presStyleCnt="5"/>
      <dgm:spPr/>
    </dgm:pt>
    <dgm:pt modelId="{7B301750-5344-4D78-9603-3E9C81A0C3F6}" type="pres">
      <dgm:prSet presAssocID="{950FD852-2EF9-4A6F-A886-C004A5EE4935}" presName="hierChild4" presStyleCnt="0"/>
      <dgm:spPr/>
    </dgm:pt>
    <dgm:pt modelId="{325F26D5-E0E4-43B4-BAE8-9C324F12D8C9}" type="pres">
      <dgm:prSet presAssocID="{950FD852-2EF9-4A6F-A886-C004A5EE4935}" presName="hierChild5" presStyleCnt="0"/>
      <dgm:spPr/>
    </dgm:pt>
    <dgm:pt modelId="{53CAC051-151A-4881-9253-18C0B3FAA392}" type="pres">
      <dgm:prSet presAssocID="{5915C066-FAC6-44D7-9E4D-0AB7C919CF5C}" presName="hierChild5" presStyleCnt="0"/>
      <dgm:spPr/>
    </dgm:pt>
    <dgm:pt modelId="{1F98DE2E-8310-4FD5-A508-4E694D57AFFD}" type="pres">
      <dgm:prSet presAssocID="{EE361B56-47D5-4AE8-9725-05CD6AF244A9}" presName="Name35" presStyleLbl="parChTrans1D2" presStyleIdx="1" presStyleCnt="2"/>
      <dgm:spPr/>
    </dgm:pt>
    <dgm:pt modelId="{814F7A30-30EF-422B-B2A3-3C4058CE912D}" type="pres">
      <dgm:prSet presAssocID="{EED1171D-3ABA-4B94-AD4E-4596D03CBFF5}" presName="hierRoot2" presStyleCnt="0">
        <dgm:presLayoutVars>
          <dgm:hierBranch/>
        </dgm:presLayoutVars>
      </dgm:prSet>
      <dgm:spPr/>
    </dgm:pt>
    <dgm:pt modelId="{19F163D2-51BA-456F-A536-041BBF2AB624}" type="pres">
      <dgm:prSet presAssocID="{EED1171D-3ABA-4B94-AD4E-4596D03CBFF5}" presName="rootComposite" presStyleCnt="0"/>
      <dgm:spPr/>
    </dgm:pt>
    <dgm:pt modelId="{AB635FE8-B5C6-4B72-A210-10A8BD670025}" type="pres">
      <dgm:prSet presAssocID="{EED1171D-3ABA-4B94-AD4E-4596D03CBFF5}" presName="rootText" presStyleLbl="node2" presStyleIdx="1" presStyleCnt="2">
        <dgm:presLayoutVars>
          <dgm:chPref val="3"/>
        </dgm:presLayoutVars>
      </dgm:prSet>
      <dgm:spPr/>
    </dgm:pt>
    <dgm:pt modelId="{FBA0114E-0A30-47F8-9DEF-DE0AAC822B73}" type="pres">
      <dgm:prSet presAssocID="{EED1171D-3ABA-4B94-AD4E-4596D03CBFF5}" presName="rootConnector" presStyleLbl="node2" presStyleIdx="1" presStyleCnt="2"/>
      <dgm:spPr/>
    </dgm:pt>
    <dgm:pt modelId="{023A7377-4846-4140-B632-F5372A19710E}" type="pres">
      <dgm:prSet presAssocID="{EED1171D-3ABA-4B94-AD4E-4596D03CBFF5}" presName="hierChild4" presStyleCnt="0"/>
      <dgm:spPr/>
    </dgm:pt>
    <dgm:pt modelId="{603041DB-7C18-4040-A9B5-01414F238F50}" type="pres">
      <dgm:prSet presAssocID="{EB0AF5EC-25D3-4EB0-9C19-4B6A9C7DCDED}" presName="Name35" presStyleLbl="parChTrans1D3" presStyleIdx="3" presStyleCnt="5"/>
      <dgm:spPr/>
    </dgm:pt>
    <dgm:pt modelId="{69F968A2-393A-48B9-9ACF-249BD77BEF49}" type="pres">
      <dgm:prSet presAssocID="{96AE9966-14AA-4D69-8E2E-3435D993EBED}" presName="hierRoot2" presStyleCnt="0">
        <dgm:presLayoutVars>
          <dgm:hierBranch val="r"/>
        </dgm:presLayoutVars>
      </dgm:prSet>
      <dgm:spPr/>
    </dgm:pt>
    <dgm:pt modelId="{24360BC2-35C9-4588-BE4B-96DC49486CAA}" type="pres">
      <dgm:prSet presAssocID="{96AE9966-14AA-4D69-8E2E-3435D993EBED}" presName="rootComposite" presStyleCnt="0"/>
      <dgm:spPr/>
    </dgm:pt>
    <dgm:pt modelId="{47FD0C25-102D-4CF6-B437-0CF7BDFF2BAF}" type="pres">
      <dgm:prSet presAssocID="{96AE9966-14AA-4D69-8E2E-3435D993EBED}" presName="rootText" presStyleLbl="node3" presStyleIdx="3" presStyleCnt="5">
        <dgm:presLayoutVars>
          <dgm:chPref val="3"/>
        </dgm:presLayoutVars>
      </dgm:prSet>
      <dgm:spPr/>
    </dgm:pt>
    <dgm:pt modelId="{8A0E57FF-C7A9-44BE-BC10-7849CF3A1D9D}" type="pres">
      <dgm:prSet presAssocID="{96AE9966-14AA-4D69-8E2E-3435D993EBED}" presName="rootConnector" presStyleLbl="node3" presStyleIdx="3" presStyleCnt="5"/>
      <dgm:spPr/>
    </dgm:pt>
    <dgm:pt modelId="{B4E8A23C-AAA7-4DF3-81F2-41249F578556}" type="pres">
      <dgm:prSet presAssocID="{96AE9966-14AA-4D69-8E2E-3435D993EBED}" presName="hierChild4" presStyleCnt="0"/>
      <dgm:spPr/>
    </dgm:pt>
    <dgm:pt modelId="{DD4B79D2-685B-47CB-8743-155E4C7A1B5F}" type="pres">
      <dgm:prSet presAssocID="{96AE9966-14AA-4D69-8E2E-3435D993EBED}" presName="hierChild5" presStyleCnt="0"/>
      <dgm:spPr/>
    </dgm:pt>
    <dgm:pt modelId="{FF962B6F-AB2A-4060-837A-147EB04DE98D}" type="pres">
      <dgm:prSet presAssocID="{369247C3-DAEA-4E80-8EC4-C6C34E8B7E45}" presName="Name35" presStyleLbl="parChTrans1D3" presStyleIdx="4" presStyleCnt="5"/>
      <dgm:spPr/>
    </dgm:pt>
    <dgm:pt modelId="{E137D0ED-0137-4EB6-BDCD-417911160484}" type="pres">
      <dgm:prSet presAssocID="{2B8B2D86-4A3E-4C8E-A46B-E971EF8D2AFB}" presName="hierRoot2" presStyleCnt="0">
        <dgm:presLayoutVars>
          <dgm:hierBranch val="r"/>
        </dgm:presLayoutVars>
      </dgm:prSet>
      <dgm:spPr/>
    </dgm:pt>
    <dgm:pt modelId="{FA9673ED-E281-4AE5-8E4A-85DB6806AAAF}" type="pres">
      <dgm:prSet presAssocID="{2B8B2D86-4A3E-4C8E-A46B-E971EF8D2AFB}" presName="rootComposite" presStyleCnt="0"/>
      <dgm:spPr/>
    </dgm:pt>
    <dgm:pt modelId="{A0730C12-5D1E-44AE-8F22-A4A093B3004B}" type="pres">
      <dgm:prSet presAssocID="{2B8B2D86-4A3E-4C8E-A46B-E971EF8D2AFB}" presName="rootText" presStyleLbl="node3" presStyleIdx="4" presStyleCnt="5">
        <dgm:presLayoutVars>
          <dgm:chPref val="3"/>
        </dgm:presLayoutVars>
      </dgm:prSet>
      <dgm:spPr/>
    </dgm:pt>
    <dgm:pt modelId="{2064F594-9A8B-4C9A-9EFB-D79BB6D44555}" type="pres">
      <dgm:prSet presAssocID="{2B8B2D86-4A3E-4C8E-A46B-E971EF8D2AFB}" presName="rootConnector" presStyleLbl="node3" presStyleIdx="4" presStyleCnt="5"/>
      <dgm:spPr/>
    </dgm:pt>
    <dgm:pt modelId="{72E09740-8A09-43FE-A1AC-D3480B0199A7}" type="pres">
      <dgm:prSet presAssocID="{2B8B2D86-4A3E-4C8E-A46B-E971EF8D2AFB}" presName="hierChild4" presStyleCnt="0"/>
      <dgm:spPr/>
    </dgm:pt>
    <dgm:pt modelId="{95FB9846-A471-4740-9B8E-5ECA8AE0180D}" type="pres">
      <dgm:prSet presAssocID="{2B8B2D86-4A3E-4C8E-A46B-E971EF8D2AFB}" presName="hierChild5" presStyleCnt="0"/>
      <dgm:spPr/>
    </dgm:pt>
    <dgm:pt modelId="{7811483A-6C3F-44EA-A6EE-1AF16FCFA974}" type="pres">
      <dgm:prSet presAssocID="{EED1171D-3ABA-4B94-AD4E-4596D03CBFF5}" presName="hierChild5" presStyleCnt="0"/>
      <dgm:spPr/>
    </dgm:pt>
    <dgm:pt modelId="{6D65319D-4BE5-403D-B06B-25785135B62E}" type="pres">
      <dgm:prSet presAssocID="{BD7AC05A-50D7-40D1-A944-FB492C93E18F}" presName="hierChild3" presStyleCnt="0"/>
      <dgm:spPr/>
    </dgm:pt>
  </dgm:ptLst>
  <dgm:cxnLst>
    <dgm:cxn modelId="{4C1E6708-5EFB-49BD-8D0B-CEB1C3A45C91}" type="presOf" srcId="{2B8B2D86-4A3E-4C8E-A46B-E971EF8D2AFB}" destId="{2064F594-9A8B-4C9A-9EFB-D79BB6D44555}" srcOrd="1" destOrd="0" presId="urn:microsoft.com/office/officeart/2005/8/layout/orgChart1"/>
    <dgm:cxn modelId="{2D94841C-4943-4982-913D-8158409D73BB}" type="presOf" srcId="{61DE2297-277A-47C2-ABB1-AE6382F5ACC6}" destId="{BBF21B0B-BF12-47D0-9222-AF9F49DA5731}" srcOrd="0" destOrd="0" presId="urn:microsoft.com/office/officeart/2005/8/layout/orgChart1"/>
    <dgm:cxn modelId="{B1C3B81C-7E83-4446-AFA5-7194059E2C38}" srcId="{DB135263-9990-459F-81BE-61F46022C54D}" destId="{36899841-DAB1-408D-810C-779F661E4A6C}" srcOrd="1" destOrd="0" parTransId="{158BA410-4942-4C12-9615-C05C9BCA3363}" sibTransId="{F46A4354-6E95-446D-95F5-120E598F6EB7}"/>
    <dgm:cxn modelId="{2EB99A26-BBBB-48F4-993C-22ED40D3375D}" srcId="{BD7AC05A-50D7-40D1-A944-FB492C93E18F}" destId="{EED1171D-3ABA-4B94-AD4E-4596D03CBFF5}" srcOrd="1" destOrd="0" parTransId="{EE361B56-47D5-4AE8-9725-05CD6AF244A9}" sibTransId="{AEB684E7-DDAB-43F7-B6EC-482AC73A1FF5}"/>
    <dgm:cxn modelId="{20CD8A2A-1839-4DEC-B3A8-044688E1B98A}" type="presOf" srcId="{1665DC18-2C72-444F-994D-2A79BBB0033B}" destId="{382F5E2D-4288-4521-BBB6-FE5AB731C3EE}" srcOrd="0" destOrd="0" presId="urn:microsoft.com/office/officeart/2005/8/layout/orgChart1"/>
    <dgm:cxn modelId="{F632CD5F-EEF5-4CFF-B688-2A8E34346380}" type="presOf" srcId="{EED1171D-3ABA-4B94-AD4E-4596D03CBFF5}" destId="{FBA0114E-0A30-47F8-9DEF-DE0AAC822B73}" srcOrd="1" destOrd="0" presId="urn:microsoft.com/office/officeart/2005/8/layout/orgChart1"/>
    <dgm:cxn modelId="{C233D962-4CAD-4A99-BCFA-63B51ECBD3D3}" srcId="{5915C066-FAC6-44D7-9E4D-0AB7C919CF5C}" destId="{DB135263-9990-459F-81BE-61F46022C54D}" srcOrd="1" destOrd="0" parTransId="{61DE2297-277A-47C2-ABB1-AE6382F5ACC6}" sibTransId="{3B44BA30-195B-4A4D-9309-85C3FBB56E49}"/>
    <dgm:cxn modelId="{B8A06344-9BB7-4D02-BB62-D4C2C2E70092}" type="presOf" srcId="{950FD852-2EF9-4A6F-A886-C004A5EE4935}" destId="{CC7BDBB5-EE49-4BDD-9940-0CF9FE2B49BB}" srcOrd="0" destOrd="0" presId="urn:microsoft.com/office/officeart/2005/8/layout/orgChart1"/>
    <dgm:cxn modelId="{30941C48-F8E1-4410-A355-C7EA8D983175}" type="presOf" srcId="{DB135263-9990-459F-81BE-61F46022C54D}" destId="{92BB8DDC-CBDA-4954-92DE-37DB7ED7374B}" srcOrd="1" destOrd="0" presId="urn:microsoft.com/office/officeart/2005/8/layout/orgChart1"/>
    <dgm:cxn modelId="{1E066669-B871-458A-9730-8062A0D928E1}" srcId="{EED1171D-3ABA-4B94-AD4E-4596D03CBFF5}" destId="{96AE9966-14AA-4D69-8E2E-3435D993EBED}" srcOrd="0" destOrd="0" parTransId="{EB0AF5EC-25D3-4EB0-9C19-4B6A9C7DCDED}" sibTransId="{111D2BE5-53E5-4046-9E78-2B50F3BCDF90}"/>
    <dgm:cxn modelId="{7B759E49-256D-4475-8C99-42BFD8AD514E}" srcId="{EED1171D-3ABA-4B94-AD4E-4596D03CBFF5}" destId="{2B8B2D86-4A3E-4C8E-A46B-E971EF8D2AFB}" srcOrd="1" destOrd="0" parTransId="{369247C3-DAEA-4E80-8EC4-C6C34E8B7E45}" sibTransId="{4A2493AC-D16F-412A-99FD-16C16AFDBF09}"/>
    <dgm:cxn modelId="{EDA56D4D-B618-42AB-9F2F-2B657AF653B1}" type="presOf" srcId="{5915C066-FAC6-44D7-9E4D-0AB7C919CF5C}" destId="{AA2005B7-CF38-42E9-9823-004E3E80F36A}" srcOrd="1" destOrd="0" presId="urn:microsoft.com/office/officeart/2005/8/layout/orgChart1"/>
    <dgm:cxn modelId="{8998554D-A58D-4940-BCF0-C901BC31D51E}" type="presOf" srcId="{EEBE8A82-685A-4E6D-9BEF-9DB56EB483C8}" destId="{7AF39878-0CE9-4349-8A21-21FB4547A6D8}" srcOrd="0" destOrd="0" presId="urn:microsoft.com/office/officeart/2005/8/layout/orgChart1"/>
    <dgm:cxn modelId="{98F62E4E-F37F-4DC9-A7D8-C3B78090AE67}" type="presOf" srcId="{36899841-DAB1-408D-810C-779F661E4A6C}" destId="{09E994C1-445C-4ECD-BA71-24ABF8F7AF8B}" srcOrd="0" destOrd="0" presId="urn:microsoft.com/office/officeart/2005/8/layout/orgChart1"/>
    <dgm:cxn modelId="{E3F19C6F-B359-4315-9802-C56594844BFD}" type="presOf" srcId="{EE361B56-47D5-4AE8-9725-05CD6AF244A9}" destId="{1F98DE2E-8310-4FD5-A508-4E694D57AFFD}" srcOrd="0" destOrd="0" presId="urn:microsoft.com/office/officeart/2005/8/layout/orgChart1"/>
    <dgm:cxn modelId="{9E04FD72-A3EF-4740-8C9B-91F066DA53DA}" type="presOf" srcId="{BD7AC05A-50D7-40D1-A944-FB492C93E18F}" destId="{0EB4BABF-EE64-4B6C-AF16-970D20F685E4}" srcOrd="1" destOrd="0" presId="urn:microsoft.com/office/officeart/2005/8/layout/orgChart1"/>
    <dgm:cxn modelId="{47C9C556-295F-4007-B606-6839A6DAFDD8}" srcId="{DB135263-9990-459F-81BE-61F46022C54D}" destId="{EEBE8A82-685A-4E6D-9BEF-9DB56EB483C8}" srcOrd="0" destOrd="0" parTransId="{1665DC18-2C72-444F-994D-2A79BBB0033B}" sibTransId="{44F704E7-9249-4ADC-9AC6-8556F0336DA6}"/>
    <dgm:cxn modelId="{A046C658-B896-48AE-871D-99E6407B9C0F}" type="presOf" srcId="{96AE9966-14AA-4D69-8E2E-3435D993EBED}" destId="{47FD0C25-102D-4CF6-B437-0CF7BDFF2BAF}" srcOrd="0" destOrd="0" presId="urn:microsoft.com/office/officeart/2005/8/layout/orgChart1"/>
    <dgm:cxn modelId="{527AD87C-8945-4A08-B5E3-802F2646BAFD}" type="presOf" srcId="{FBBD28C9-5E8D-45A2-A0AB-6D17F2304B84}" destId="{70E2F9B7-8C17-4018-BD37-E6102D3CF864}" srcOrd="1" destOrd="0" presId="urn:microsoft.com/office/officeart/2005/8/layout/orgChart1"/>
    <dgm:cxn modelId="{CB9E4880-F929-4800-8145-46D114989E36}" type="presOf" srcId="{EEBE8A82-685A-4E6D-9BEF-9DB56EB483C8}" destId="{87BA169F-CCC5-4A2C-8DE8-227FD985FDE3}" srcOrd="1" destOrd="0" presId="urn:microsoft.com/office/officeart/2005/8/layout/orgChart1"/>
    <dgm:cxn modelId="{E7CE4287-21FB-4D31-9A82-EE65336AE816}" srcId="{BD7AC05A-50D7-40D1-A944-FB492C93E18F}" destId="{5915C066-FAC6-44D7-9E4D-0AB7C919CF5C}" srcOrd="0" destOrd="0" parTransId="{A3D51345-C3AD-41B1-BC4C-B7BF92223F73}" sibTransId="{E2E226FB-3D2E-404A-AD28-E5788835F97B}"/>
    <dgm:cxn modelId="{25B89F87-E1F6-447A-85D7-A41C8992835D}" type="presOf" srcId="{5915C066-FAC6-44D7-9E4D-0AB7C919CF5C}" destId="{480AB5D3-355C-4B60-9B61-67161055676A}" srcOrd="0" destOrd="0" presId="urn:microsoft.com/office/officeart/2005/8/layout/orgChart1"/>
    <dgm:cxn modelId="{C149F598-29CA-4BEA-ADFB-67258255F6E0}" type="presOf" srcId="{DB135263-9990-459F-81BE-61F46022C54D}" destId="{84061370-C2E6-408E-A961-2A52B49534BA}" srcOrd="0" destOrd="0" presId="urn:microsoft.com/office/officeart/2005/8/layout/orgChart1"/>
    <dgm:cxn modelId="{BA51519C-AFFA-46DB-AE5C-8DB833D70A0F}" type="presOf" srcId="{158BA410-4942-4C12-9615-C05C9BCA3363}" destId="{E7BD134B-93F4-4B8C-8B58-7D25A471567E}" srcOrd="0" destOrd="0" presId="urn:microsoft.com/office/officeart/2005/8/layout/orgChart1"/>
    <dgm:cxn modelId="{C8DE06A3-6F2D-4821-A71F-37F0BE260A74}" srcId="{5915C066-FAC6-44D7-9E4D-0AB7C919CF5C}" destId="{FBBD28C9-5E8D-45A2-A0AB-6D17F2304B84}" srcOrd="0" destOrd="0" parTransId="{E643F652-44EA-45F2-A02B-D2F6E0FF1951}" sibTransId="{19871FCC-545A-4ED5-A8E1-49D706805FA0}"/>
    <dgm:cxn modelId="{B8458CA5-1C7F-4723-961A-D58674B6D2F2}" srcId="{759BD600-95EE-47C9-9B6D-1CDC0D38D448}" destId="{BD7AC05A-50D7-40D1-A944-FB492C93E18F}" srcOrd="0" destOrd="0" parTransId="{578D8597-56A1-4FC4-A401-964803E1E120}" sibTransId="{C7456B25-BAF4-4D7B-BE7D-7A9748FEFC81}"/>
    <dgm:cxn modelId="{7FCF14A6-89CB-479B-AE2E-7C745E4A272D}" srcId="{5915C066-FAC6-44D7-9E4D-0AB7C919CF5C}" destId="{950FD852-2EF9-4A6F-A886-C004A5EE4935}" srcOrd="2" destOrd="0" parTransId="{A07E1898-A232-4B1B-B825-AB268F016DA5}" sibTransId="{44A63BA6-C052-44B6-9902-29D225C04F29}"/>
    <dgm:cxn modelId="{F353A9A9-3362-4D96-95F7-1397862D8A36}" type="presOf" srcId="{EED1171D-3ABA-4B94-AD4E-4596D03CBFF5}" destId="{AB635FE8-B5C6-4B72-A210-10A8BD670025}" srcOrd="0" destOrd="0" presId="urn:microsoft.com/office/officeart/2005/8/layout/orgChart1"/>
    <dgm:cxn modelId="{9C785AAB-9459-4A4E-9598-6BCAE803AE7F}" type="presOf" srcId="{FBBD28C9-5E8D-45A2-A0AB-6D17F2304B84}" destId="{AABD5265-CE8F-427E-876B-42E480B23C10}" srcOrd="0" destOrd="0" presId="urn:microsoft.com/office/officeart/2005/8/layout/orgChart1"/>
    <dgm:cxn modelId="{4988D7B1-F242-4ABE-BBE5-40BC479A7140}" type="presOf" srcId="{950FD852-2EF9-4A6F-A886-C004A5EE4935}" destId="{499A0079-9EB8-4184-BBBB-341A69D1F90F}" srcOrd="1" destOrd="0" presId="urn:microsoft.com/office/officeart/2005/8/layout/orgChart1"/>
    <dgm:cxn modelId="{DD5BB0C0-7FE9-4FDA-A125-9FEF46E82A64}" type="presOf" srcId="{759BD600-95EE-47C9-9B6D-1CDC0D38D448}" destId="{B897464A-AA67-4592-B5D7-F396288540F3}" srcOrd="0" destOrd="0" presId="urn:microsoft.com/office/officeart/2005/8/layout/orgChart1"/>
    <dgm:cxn modelId="{9F4C41C6-B8EA-4305-8130-C24CD249AEFC}" type="presOf" srcId="{369247C3-DAEA-4E80-8EC4-C6C34E8B7E45}" destId="{FF962B6F-AB2A-4060-837A-147EB04DE98D}" srcOrd="0" destOrd="0" presId="urn:microsoft.com/office/officeart/2005/8/layout/orgChart1"/>
    <dgm:cxn modelId="{CAE9ADC9-7262-4440-9BE3-3374416B9E2A}" type="presOf" srcId="{36899841-DAB1-408D-810C-779F661E4A6C}" destId="{B79366B3-8C1B-45A3-9881-CE91AC2445AC}" srcOrd="1" destOrd="0" presId="urn:microsoft.com/office/officeart/2005/8/layout/orgChart1"/>
    <dgm:cxn modelId="{6F2F4DCE-E616-42A2-A4D9-FAE2230A47AB}" type="presOf" srcId="{A07E1898-A232-4B1B-B825-AB268F016DA5}" destId="{F3612F13-CF91-444A-B1AF-F8DC7CFB9B48}" srcOrd="0" destOrd="0" presId="urn:microsoft.com/office/officeart/2005/8/layout/orgChart1"/>
    <dgm:cxn modelId="{B3B0C5DB-F1B9-4194-9121-1EB55FBB2763}" type="presOf" srcId="{EB0AF5EC-25D3-4EB0-9C19-4B6A9C7DCDED}" destId="{603041DB-7C18-4040-A9B5-01414F238F50}" srcOrd="0" destOrd="0" presId="urn:microsoft.com/office/officeart/2005/8/layout/orgChart1"/>
    <dgm:cxn modelId="{E3494CE8-D5E1-453A-BB13-E4E800F13376}" type="presOf" srcId="{2B8B2D86-4A3E-4C8E-A46B-E971EF8D2AFB}" destId="{A0730C12-5D1E-44AE-8F22-A4A093B3004B}" srcOrd="0" destOrd="0" presId="urn:microsoft.com/office/officeart/2005/8/layout/orgChart1"/>
    <dgm:cxn modelId="{C6CB4DED-10D2-46DB-8669-03074CE75765}" type="presOf" srcId="{96AE9966-14AA-4D69-8E2E-3435D993EBED}" destId="{8A0E57FF-C7A9-44BE-BC10-7849CF3A1D9D}" srcOrd="1" destOrd="0" presId="urn:microsoft.com/office/officeart/2005/8/layout/orgChart1"/>
    <dgm:cxn modelId="{337E19EE-DB71-4649-BBA9-41C9769FE7EB}" type="presOf" srcId="{A3D51345-C3AD-41B1-BC4C-B7BF92223F73}" destId="{AD7838FC-1B55-452D-9F5B-7C12277CE05A}" srcOrd="0" destOrd="0" presId="urn:microsoft.com/office/officeart/2005/8/layout/orgChart1"/>
    <dgm:cxn modelId="{32608FF3-3DBB-4CF5-9068-A3FD301DC2FB}" type="presOf" srcId="{BD7AC05A-50D7-40D1-A944-FB492C93E18F}" destId="{DA6FFCCB-7578-4B33-94A3-867C6A402211}" srcOrd="0" destOrd="0" presId="urn:microsoft.com/office/officeart/2005/8/layout/orgChart1"/>
    <dgm:cxn modelId="{28E620F4-386E-46E1-A094-C06E65C56F5D}" type="presOf" srcId="{E643F652-44EA-45F2-A02B-D2F6E0FF1951}" destId="{351ECD11-40D4-458D-BF7C-595280EB99E7}" srcOrd="0" destOrd="0" presId="urn:microsoft.com/office/officeart/2005/8/layout/orgChart1"/>
    <dgm:cxn modelId="{8EA402C6-4A7E-45D3-BDC7-47E2F1C4B845}" type="presParOf" srcId="{B897464A-AA67-4592-B5D7-F396288540F3}" destId="{74F65C38-B09D-476F-96B0-0EEAC1C22271}" srcOrd="0" destOrd="0" presId="urn:microsoft.com/office/officeart/2005/8/layout/orgChart1"/>
    <dgm:cxn modelId="{513A630A-7FDC-45E9-8C4B-63A12BE7DECA}" type="presParOf" srcId="{74F65C38-B09D-476F-96B0-0EEAC1C22271}" destId="{ED9433BB-CE96-4BFA-AB03-29B2AAF3C521}" srcOrd="0" destOrd="0" presId="urn:microsoft.com/office/officeart/2005/8/layout/orgChart1"/>
    <dgm:cxn modelId="{E8A097BC-58E7-4F19-B326-D57DB2AE5116}" type="presParOf" srcId="{ED9433BB-CE96-4BFA-AB03-29B2AAF3C521}" destId="{DA6FFCCB-7578-4B33-94A3-867C6A402211}" srcOrd="0" destOrd="0" presId="urn:microsoft.com/office/officeart/2005/8/layout/orgChart1"/>
    <dgm:cxn modelId="{01F89F0C-95AA-4DF5-995E-9C72BEAD8F1B}" type="presParOf" srcId="{ED9433BB-CE96-4BFA-AB03-29B2AAF3C521}" destId="{0EB4BABF-EE64-4B6C-AF16-970D20F685E4}" srcOrd="1" destOrd="0" presId="urn:microsoft.com/office/officeart/2005/8/layout/orgChart1"/>
    <dgm:cxn modelId="{987597F7-CE23-4DE6-9186-AC4E6B09FC47}" type="presParOf" srcId="{74F65C38-B09D-476F-96B0-0EEAC1C22271}" destId="{F63ADE42-F37D-44F3-8A54-BFDF493B1546}" srcOrd="1" destOrd="0" presId="urn:microsoft.com/office/officeart/2005/8/layout/orgChart1"/>
    <dgm:cxn modelId="{8B073B20-4B62-4C2A-80AE-17D642A5BFE4}" type="presParOf" srcId="{F63ADE42-F37D-44F3-8A54-BFDF493B1546}" destId="{AD7838FC-1B55-452D-9F5B-7C12277CE05A}" srcOrd="0" destOrd="0" presId="urn:microsoft.com/office/officeart/2005/8/layout/orgChart1"/>
    <dgm:cxn modelId="{4DFC9F11-DCB5-44D1-85B1-BF919911881B}" type="presParOf" srcId="{F63ADE42-F37D-44F3-8A54-BFDF493B1546}" destId="{70302250-6B3B-40E5-A511-A2FCE2807546}" srcOrd="1" destOrd="0" presId="urn:microsoft.com/office/officeart/2005/8/layout/orgChart1"/>
    <dgm:cxn modelId="{1DD291C4-DB01-4F65-902A-ED9DC69E291B}" type="presParOf" srcId="{70302250-6B3B-40E5-A511-A2FCE2807546}" destId="{9530CAF5-81FE-470B-BFBA-EF32520B3150}" srcOrd="0" destOrd="0" presId="urn:microsoft.com/office/officeart/2005/8/layout/orgChart1"/>
    <dgm:cxn modelId="{E6810D3E-795E-4203-8568-E11B16594888}" type="presParOf" srcId="{9530CAF5-81FE-470B-BFBA-EF32520B3150}" destId="{480AB5D3-355C-4B60-9B61-67161055676A}" srcOrd="0" destOrd="0" presId="urn:microsoft.com/office/officeart/2005/8/layout/orgChart1"/>
    <dgm:cxn modelId="{69B6F982-B180-4D1F-9EFD-75E8FB871410}" type="presParOf" srcId="{9530CAF5-81FE-470B-BFBA-EF32520B3150}" destId="{AA2005B7-CF38-42E9-9823-004E3E80F36A}" srcOrd="1" destOrd="0" presId="urn:microsoft.com/office/officeart/2005/8/layout/orgChart1"/>
    <dgm:cxn modelId="{1B048ADB-B275-4D66-8AC4-E11EDFDBFB70}" type="presParOf" srcId="{70302250-6B3B-40E5-A511-A2FCE2807546}" destId="{472B8401-538E-4377-A245-7D4D49F918BE}" srcOrd="1" destOrd="0" presId="urn:microsoft.com/office/officeart/2005/8/layout/orgChart1"/>
    <dgm:cxn modelId="{99CA18AB-CA9B-4E0E-AD9D-1B0A487594A0}" type="presParOf" srcId="{472B8401-538E-4377-A245-7D4D49F918BE}" destId="{351ECD11-40D4-458D-BF7C-595280EB99E7}" srcOrd="0" destOrd="0" presId="urn:microsoft.com/office/officeart/2005/8/layout/orgChart1"/>
    <dgm:cxn modelId="{6190C52A-7572-4B89-A7CA-A919A0420BBA}" type="presParOf" srcId="{472B8401-538E-4377-A245-7D4D49F918BE}" destId="{9D87D8F7-2504-4108-8B86-68998C7996FF}" srcOrd="1" destOrd="0" presId="urn:microsoft.com/office/officeart/2005/8/layout/orgChart1"/>
    <dgm:cxn modelId="{A9A93FDF-E7C1-4CFB-A333-A83189CA7871}" type="presParOf" srcId="{9D87D8F7-2504-4108-8B86-68998C7996FF}" destId="{C866C700-AC34-434B-9C24-BF84938AE7A3}" srcOrd="0" destOrd="0" presId="urn:microsoft.com/office/officeart/2005/8/layout/orgChart1"/>
    <dgm:cxn modelId="{1D7B8D3C-930F-4CF2-95AA-66E4DB5A898F}" type="presParOf" srcId="{C866C700-AC34-434B-9C24-BF84938AE7A3}" destId="{AABD5265-CE8F-427E-876B-42E480B23C10}" srcOrd="0" destOrd="0" presId="urn:microsoft.com/office/officeart/2005/8/layout/orgChart1"/>
    <dgm:cxn modelId="{462A6AE2-04B1-43A6-AC1D-8F943B5876BD}" type="presParOf" srcId="{C866C700-AC34-434B-9C24-BF84938AE7A3}" destId="{70E2F9B7-8C17-4018-BD37-E6102D3CF864}" srcOrd="1" destOrd="0" presId="urn:microsoft.com/office/officeart/2005/8/layout/orgChart1"/>
    <dgm:cxn modelId="{41E97235-D147-4030-9533-914DD207F321}" type="presParOf" srcId="{9D87D8F7-2504-4108-8B86-68998C7996FF}" destId="{4D861EA2-D5E8-4AB2-8113-FF5ABCF015A6}" srcOrd="1" destOrd="0" presId="urn:microsoft.com/office/officeart/2005/8/layout/orgChart1"/>
    <dgm:cxn modelId="{BDCFC21B-E1D3-4A0B-B341-C19377161996}" type="presParOf" srcId="{9D87D8F7-2504-4108-8B86-68998C7996FF}" destId="{2D39E421-66AC-4841-B428-5BF0D2E2D34B}" srcOrd="2" destOrd="0" presId="urn:microsoft.com/office/officeart/2005/8/layout/orgChart1"/>
    <dgm:cxn modelId="{1EDDDA20-766C-44F5-B1FC-77FBD5631182}" type="presParOf" srcId="{472B8401-538E-4377-A245-7D4D49F918BE}" destId="{BBF21B0B-BF12-47D0-9222-AF9F49DA5731}" srcOrd="2" destOrd="0" presId="urn:microsoft.com/office/officeart/2005/8/layout/orgChart1"/>
    <dgm:cxn modelId="{9E20B96C-903E-4A67-BCA6-AA25B9DA4BEC}" type="presParOf" srcId="{472B8401-538E-4377-A245-7D4D49F918BE}" destId="{31390744-47A0-4091-8643-36690A8F4831}" srcOrd="3" destOrd="0" presId="urn:microsoft.com/office/officeart/2005/8/layout/orgChart1"/>
    <dgm:cxn modelId="{67300EAE-7BE1-44F5-914A-F2CD8EB9E2AA}" type="presParOf" srcId="{31390744-47A0-4091-8643-36690A8F4831}" destId="{69D9CB61-97C2-4A16-BCA1-B232208266B0}" srcOrd="0" destOrd="0" presId="urn:microsoft.com/office/officeart/2005/8/layout/orgChart1"/>
    <dgm:cxn modelId="{F3F67249-BEB6-4A21-92F5-82E638D8FCFF}" type="presParOf" srcId="{69D9CB61-97C2-4A16-BCA1-B232208266B0}" destId="{84061370-C2E6-408E-A961-2A52B49534BA}" srcOrd="0" destOrd="0" presId="urn:microsoft.com/office/officeart/2005/8/layout/orgChart1"/>
    <dgm:cxn modelId="{02FB031C-F4DC-44A8-B505-CD95F50B9FC0}" type="presParOf" srcId="{69D9CB61-97C2-4A16-BCA1-B232208266B0}" destId="{92BB8DDC-CBDA-4954-92DE-37DB7ED7374B}" srcOrd="1" destOrd="0" presId="urn:microsoft.com/office/officeart/2005/8/layout/orgChart1"/>
    <dgm:cxn modelId="{E1AAE570-8642-4575-BC54-D82E381631B0}" type="presParOf" srcId="{31390744-47A0-4091-8643-36690A8F4831}" destId="{DE609981-D416-4D18-BEDC-A21652E9C63A}" srcOrd="1" destOrd="0" presId="urn:microsoft.com/office/officeart/2005/8/layout/orgChart1"/>
    <dgm:cxn modelId="{F496DC25-4776-4823-A057-C71FD0390D2A}" type="presParOf" srcId="{DE609981-D416-4D18-BEDC-A21652E9C63A}" destId="{382F5E2D-4288-4521-BBB6-FE5AB731C3EE}" srcOrd="0" destOrd="0" presId="urn:microsoft.com/office/officeart/2005/8/layout/orgChart1"/>
    <dgm:cxn modelId="{E4B35B72-B6D0-4C2C-9324-F86C7C9CE9F8}" type="presParOf" srcId="{DE609981-D416-4D18-BEDC-A21652E9C63A}" destId="{EC1037CC-4821-435E-9645-269D3D28FFCC}" srcOrd="1" destOrd="0" presId="urn:microsoft.com/office/officeart/2005/8/layout/orgChart1"/>
    <dgm:cxn modelId="{6C2B5F3A-CD04-4683-B6AC-D36D11C7361B}" type="presParOf" srcId="{EC1037CC-4821-435E-9645-269D3D28FFCC}" destId="{1381134B-0D97-4FCA-AC65-9E5C69BED731}" srcOrd="0" destOrd="0" presId="urn:microsoft.com/office/officeart/2005/8/layout/orgChart1"/>
    <dgm:cxn modelId="{D069B213-003A-4F77-8E39-2EF56BE4CF56}" type="presParOf" srcId="{1381134B-0D97-4FCA-AC65-9E5C69BED731}" destId="{7AF39878-0CE9-4349-8A21-21FB4547A6D8}" srcOrd="0" destOrd="0" presId="urn:microsoft.com/office/officeart/2005/8/layout/orgChart1"/>
    <dgm:cxn modelId="{87BD7997-4B6F-4894-A2BA-A93AC3C6DC60}" type="presParOf" srcId="{1381134B-0D97-4FCA-AC65-9E5C69BED731}" destId="{87BA169F-CCC5-4A2C-8DE8-227FD985FDE3}" srcOrd="1" destOrd="0" presId="urn:microsoft.com/office/officeart/2005/8/layout/orgChart1"/>
    <dgm:cxn modelId="{BDCBF832-90D2-4841-8583-2E4E2DF5D137}" type="presParOf" srcId="{EC1037CC-4821-435E-9645-269D3D28FFCC}" destId="{CE5615E8-94BE-4E1A-BBEC-934B6683B8E9}" srcOrd="1" destOrd="0" presId="urn:microsoft.com/office/officeart/2005/8/layout/orgChart1"/>
    <dgm:cxn modelId="{CAB5C42F-AEE9-459C-92E5-A854CDAFE2FA}" type="presParOf" srcId="{EC1037CC-4821-435E-9645-269D3D28FFCC}" destId="{79736B64-76FD-47CE-B167-C35513D9E025}" srcOrd="2" destOrd="0" presId="urn:microsoft.com/office/officeart/2005/8/layout/orgChart1"/>
    <dgm:cxn modelId="{EE1F91BD-A0D7-4F7D-8F7B-D1953317C0A7}" type="presParOf" srcId="{DE609981-D416-4D18-BEDC-A21652E9C63A}" destId="{E7BD134B-93F4-4B8C-8B58-7D25A471567E}" srcOrd="2" destOrd="0" presId="urn:microsoft.com/office/officeart/2005/8/layout/orgChart1"/>
    <dgm:cxn modelId="{2A43DDF6-7AA7-4C4E-8EBE-C4E6F23A0210}" type="presParOf" srcId="{DE609981-D416-4D18-BEDC-A21652E9C63A}" destId="{44875A35-3497-4124-B056-D89802E33C7C}" srcOrd="3" destOrd="0" presId="urn:microsoft.com/office/officeart/2005/8/layout/orgChart1"/>
    <dgm:cxn modelId="{A374E98E-DC52-4269-B69D-ED72CF607DE6}" type="presParOf" srcId="{44875A35-3497-4124-B056-D89802E33C7C}" destId="{746A1665-C09F-4A97-B417-695856E44D0D}" srcOrd="0" destOrd="0" presId="urn:microsoft.com/office/officeart/2005/8/layout/orgChart1"/>
    <dgm:cxn modelId="{D0B7FC6C-054A-49F2-B7D9-FC1B3E844796}" type="presParOf" srcId="{746A1665-C09F-4A97-B417-695856E44D0D}" destId="{09E994C1-445C-4ECD-BA71-24ABF8F7AF8B}" srcOrd="0" destOrd="0" presId="urn:microsoft.com/office/officeart/2005/8/layout/orgChart1"/>
    <dgm:cxn modelId="{CBA42A6E-305E-4DDE-BBD3-DDF1670B3C83}" type="presParOf" srcId="{746A1665-C09F-4A97-B417-695856E44D0D}" destId="{B79366B3-8C1B-45A3-9881-CE91AC2445AC}" srcOrd="1" destOrd="0" presId="urn:microsoft.com/office/officeart/2005/8/layout/orgChart1"/>
    <dgm:cxn modelId="{CD13CF02-2406-486D-88CB-4B189E4180EA}" type="presParOf" srcId="{44875A35-3497-4124-B056-D89802E33C7C}" destId="{DB3D5F5A-D9F0-4AA8-BD04-FF264DCB94A5}" srcOrd="1" destOrd="0" presId="urn:microsoft.com/office/officeart/2005/8/layout/orgChart1"/>
    <dgm:cxn modelId="{C208130F-3164-4285-A988-F6D4A54B2565}" type="presParOf" srcId="{44875A35-3497-4124-B056-D89802E33C7C}" destId="{FFE08F9A-B9BE-4B12-A724-EB12B0C533C3}" srcOrd="2" destOrd="0" presId="urn:microsoft.com/office/officeart/2005/8/layout/orgChart1"/>
    <dgm:cxn modelId="{0E80C0AE-7EAB-4D59-86A2-74674A15BBA2}" type="presParOf" srcId="{31390744-47A0-4091-8643-36690A8F4831}" destId="{D979AA08-A0A6-4795-A674-542F7320B973}" srcOrd="2" destOrd="0" presId="urn:microsoft.com/office/officeart/2005/8/layout/orgChart1"/>
    <dgm:cxn modelId="{5ADE774E-000C-4937-B534-2F88AF1D623D}" type="presParOf" srcId="{472B8401-538E-4377-A245-7D4D49F918BE}" destId="{F3612F13-CF91-444A-B1AF-F8DC7CFB9B48}" srcOrd="4" destOrd="0" presId="urn:microsoft.com/office/officeart/2005/8/layout/orgChart1"/>
    <dgm:cxn modelId="{99B44AD1-A3DA-4D25-8A6D-6E8398B1325F}" type="presParOf" srcId="{472B8401-538E-4377-A245-7D4D49F918BE}" destId="{1B23A996-618D-4813-845B-928D8A7B28EE}" srcOrd="5" destOrd="0" presId="urn:microsoft.com/office/officeart/2005/8/layout/orgChart1"/>
    <dgm:cxn modelId="{3C03BE49-D374-41BE-B4DB-86ECEC0C40AB}" type="presParOf" srcId="{1B23A996-618D-4813-845B-928D8A7B28EE}" destId="{246F2159-2C7E-438A-897B-FBBE34691D07}" srcOrd="0" destOrd="0" presId="urn:microsoft.com/office/officeart/2005/8/layout/orgChart1"/>
    <dgm:cxn modelId="{4731BF4C-FC20-444D-A835-D0C1DC0BA2B4}" type="presParOf" srcId="{246F2159-2C7E-438A-897B-FBBE34691D07}" destId="{CC7BDBB5-EE49-4BDD-9940-0CF9FE2B49BB}" srcOrd="0" destOrd="0" presId="urn:microsoft.com/office/officeart/2005/8/layout/orgChart1"/>
    <dgm:cxn modelId="{41AA5350-AA46-4F66-B478-76BAD8E29AE6}" type="presParOf" srcId="{246F2159-2C7E-438A-897B-FBBE34691D07}" destId="{499A0079-9EB8-4184-BBBB-341A69D1F90F}" srcOrd="1" destOrd="0" presId="urn:microsoft.com/office/officeart/2005/8/layout/orgChart1"/>
    <dgm:cxn modelId="{08D58D78-BEEA-4D99-A488-F98089FA7EDB}" type="presParOf" srcId="{1B23A996-618D-4813-845B-928D8A7B28EE}" destId="{7B301750-5344-4D78-9603-3E9C81A0C3F6}" srcOrd="1" destOrd="0" presId="urn:microsoft.com/office/officeart/2005/8/layout/orgChart1"/>
    <dgm:cxn modelId="{0F317476-DF80-4DFA-91D1-24A99AAF8715}" type="presParOf" srcId="{1B23A996-618D-4813-845B-928D8A7B28EE}" destId="{325F26D5-E0E4-43B4-BAE8-9C324F12D8C9}" srcOrd="2" destOrd="0" presId="urn:microsoft.com/office/officeart/2005/8/layout/orgChart1"/>
    <dgm:cxn modelId="{480EEC30-6949-43ED-8134-236512CBA557}" type="presParOf" srcId="{70302250-6B3B-40E5-A511-A2FCE2807546}" destId="{53CAC051-151A-4881-9253-18C0B3FAA392}" srcOrd="2" destOrd="0" presId="urn:microsoft.com/office/officeart/2005/8/layout/orgChart1"/>
    <dgm:cxn modelId="{C8D67DAD-30BE-41CE-8904-823A4D97CE1D}" type="presParOf" srcId="{F63ADE42-F37D-44F3-8A54-BFDF493B1546}" destId="{1F98DE2E-8310-4FD5-A508-4E694D57AFFD}" srcOrd="2" destOrd="0" presId="urn:microsoft.com/office/officeart/2005/8/layout/orgChart1"/>
    <dgm:cxn modelId="{EB3AEAD4-C149-49C7-8AD3-C3FA4928A73E}" type="presParOf" srcId="{F63ADE42-F37D-44F3-8A54-BFDF493B1546}" destId="{814F7A30-30EF-422B-B2A3-3C4058CE912D}" srcOrd="3" destOrd="0" presId="urn:microsoft.com/office/officeart/2005/8/layout/orgChart1"/>
    <dgm:cxn modelId="{B1D72F94-4303-4E00-AC53-3EBD9CD3D325}" type="presParOf" srcId="{814F7A30-30EF-422B-B2A3-3C4058CE912D}" destId="{19F163D2-51BA-456F-A536-041BBF2AB624}" srcOrd="0" destOrd="0" presId="urn:microsoft.com/office/officeart/2005/8/layout/orgChart1"/>
    <dgm:cxn modelId="{F46246F4-4914-4821-867F-583A135DDF6B}" type="presParOf" srcId="{19F163D2-51BA-456F-A536-041BBF2AB624}" destId="{AB635FE8-B5C6-4B72-A210-10A8BD670025}" srcOrd="0" destOrd="0" presId="urn:microsoft.com/office/officeart/2005/8/layout/orgChart1"/>
    <dgm:cxn modelId="{85D8F93E-C163-4553-8E81-60706638A4DB}" type="presParOf" srcId="{19F163D2-51BA-456F-A536-041BBF2AB624}" destId="{FBA0114E-0A30-47F8-9DEF-DE0AAC822B73}" srcOrd="1" destOrd="0" presId="urn:microsoft.com/office/officeart/2005/8/layout/orgChart1"/>
    <dgm:cxn modelId="{057B4FC0-B13F-44D6-BF03-E9510789C4EC}" type="presParOf" srcId="{814F7A30-30EF-422B-B2A3-3C4058CE912D}" destId="{023A7377-4846-4140-B632-F5372A19710E}" srcOrd="1" destOrd="0" presId="urn:microsoft.com/office/officeart/2005/8/layout/orgChart1"/>
    <dgm:cxn modelId="{CD92FE6F-62A5-479B-8582-2877550A4F28}" type="presParOf" srcId="{023A7377-4846-4140-B632-F5372A19710E}" destId="{603041DB-7C18-4040-A9B5-01414F238F50}" srcOrd="0" destOrd="0" presId="urn:microsoft.com/office/officeart/2005/8/layout/orgChart1"/>
    <dgm:cxn modelId="{CC3089A7-374E-48D6-BBAF-3650C5F837F0}" type="presParOf" srcId="{023A7377-4846-4140-B632-F5372A19710E}" destId="{69F968A2-393A-48B9-9ACF-249BD77BEF49}" srcOrd="1" destOrd="0" presId="urn:microsoft.com/office/officeart/2005/8/layout/orgChart1"/>
    <dgm:cxn modelId="{BFD7981A-C10B-470B-831C-D9466E450784}" type="presParOf" srcId="{69F968A2-393A-48B9-9ACF-249BD77BEF49}" destId="{24360BC2-35C9-4588-BE4B-96DC49486CAA}" srcOrd="0" destOrd="0" presId="urn:microsoft.com/office/officeart/2005/8/layout/orgChart1"/>
    <dgm:cxn modelId="{30295F60-095E-4094-A671-038B99C43751}" type="presParOf" srcId="{24360BC2-35C9-4588-BE4B-96DC49486CAA}" destId="{47FD0C25-102D-4CF6-B437-0CF7BDFF2BAF}" srcOrd="0" destOrd="0" presId="urn:microsoft.com/office/officeart/2005/8/layout/orgChart1"/>
    <dgm:cxn modelId="{536E071E-E282-4447-969B-B4E8109E561F}" type="presParOf" srcId="{24360BC2-35C9-4588-BE4B-96DC49486CAA}" destId="{8A0E57FF-C7A9-44BE-BC10-7849CF3A1D9D}" srcOrd="1" destOrd="0" presId="urn:microsoft.com/office/officeart/2005/8/layout/orgChart1"/>
    <dgm:cxn modelId="{E2141060-FFDC-4BA0-BFA4-09614624F29E}" type="presParOf" srcId="{69F968A2-393A-48B9-9ACF-249BD77BEF49}" destId="{B4E8A23C-AAA7-4DF3-81F2-41249F578556}" srcOrd="1" destOrd="0" presId="urn:microsoft.com/office/officeart/2005/8/layout/orgChart1"/>
    <dgm:cxn modelId="{B55B2C8F-BD2F-4565-8B0C-14104ECF011A}" type="presParOf" srcId="{69F968A2-393A-48B9-9ACF-249BD77BEF49}" destId="{DD4B79D2-685B-47CB-8743-155E4C7A1B5F}" srcOrd="2" destOrd="0" presId="urn:microsoft.com/office/officeart/2005/8/layout/orgChart1"/>
    <dgm:cxn modelId="{30734ACB-1014-4D86-A88D-65C478C6EACD}" type="presParOf" srcId="{023A7377-4846-4140-B632-F5372A19710E}" destId="{FF962B6F-AB2A-4060-837A-147EB04DE98D}" srcOrd="2" destOrd="0" presId="urn:microsoft.com/office/officeart/2005/8/layout/orgChart1"/>
    <dgm:cxn modelId="{A759A8E1-6306-4B28-8835-0A6D93C542F6}" type="presParOf" srcId="{023A7377-4846-4140-B632-F5372A19710E}" destId="{E137D0ED-0137-4EB6-BDCD-417911160484}" srcOrd="3" destOrd="0" presId="urn:microsoft.com/office/officeart/2005/8/layout/orgChart1"/>
    <dgm:cxn modelId="{31F71846-8A62-41E8-988C-BD24B1A21C40}" type="presParOf" srcId="{E137D0ED-0137-4EB6-BDCD-417911160484}" destId="{FA9673ED-E281-4AE5-8E4A-85DB6806AAAF}" srcOrd="0" destOrd="0" presId="urn:microsoft.com/office/officeart/2005/8/layout/orgChart1"/>
    <dgm:cxn modelId="{F37E5D4E-243B-454C-A543-86C78770B077}" type="presParOf" srcId="{FA9673ED-E281-4AE5-8E4A-85DB6806AAAF}" destId="{A0730C12-5D1E-44AE-8F22-A4A093B3004B}" srcOrd="0" destOrd="0" presId="urn:microsoft.com/office/officeart/2005/8/layout/orgChart1"/>
    <dgm:cxn modelId="{95D48281-FE4F-4A0A-80B0-EF41DD4B5DF9}" type="presParOf" srcId="{FA9673ED-E281-4AE5-8E4A-85DB6806AAAF}" destId="{2064F594-9A8B-4C9A-9EFB-D79BB6D44555}" srcOrd="1" destOrd="0" presId="urn:microsoft.com/office/officeart/2005/8/layout/orgChart1"/>
    <dgm:cxn modelId="{CBD63B4C-DCC4-46C1-B87A-5AD1B6F57A82}" type="presParOf" srcId="{E137D0ED-0137-4EB6-BDCD-417911160484}" destId="{72E09740-8A09-43FE-A1AC-D3480B0199A7}" srcOrd="1" destOrd="0" presId="urn:microsoft.com/office/officeart/2005/8/layout/orgChart1"/>
    <dgm:cxn modelId="{8D837477-8C12-440D-B5C5-A64749320003}" type="presParOf" srcId="{E137D0ED-0137-4EB6-BDCD-417911160484}" destId="{95FB9846-A471-4740-9B8E-5ECA8AE0180D}" srcOrd="2" destOrd="0" presId="urn:microsoft.com/office/officeart/2005/8/layout/orgChart1"/>
    <dgm:cxn modelId="{8D199F77-DE02-4325-BAF3-D5C03EF80053}" type="presParOf" srcId="{814F7A30-30EF-422B-B2A3-3C4058CE912D}" destId="{7811483A-6C3F-44EA-A6EE-1AF16FCFA974}" srcOrd="2" destOrd="0" presId="urn:microsoft.com/office/officeart/2005/8/layout/orgChart1"/>
    <dgm:cxn modelId="{AE6F2FCC-C039-4E0D-91B1-2BEF9E3DF8E1}" type="presParOf" srcId="{74F65C38-B09D-476F-96B0-0EEAC1C22271}" destId="{6D65319D-4BE5-403D-B06B-25785135B62E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B83DC9-714B-4997-A2F9-B758E1CD6FB6}">
      <dsp:nvSpPr>
        <dsp:cNvPr id="0" name=""/>
        <dsp:cNvSpPr/>
      </dsp:nvSpPr>
      <dsp:spPr>
        <a:xfrm>
          <a:off x="3736982" y="919807"/>
          <a:ext cx="1112222" cy="3860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3030"/>
              </a:lnTo>
              <a:lnTo>
                <a:pt x="1112222" y="193030"/>
              </a:lnTo>
              <a:lnTo>
                <a:pt x="1112222" y="3860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793F25-68D7-4FF6-A14B-4DBC16225FA5}">
      <dsp:nvSpPr>
        <dsp:cNvPr id="0" name=""/>
        <dsp:cNvSpPr/>
      </dsp:nvSpPr>
      <dsp:spPr>
        <a:xfrm>
          <a:off x="2624760" y="919807"/>
          <a:ext cx="1112222" cy="386060"/>
        </a:xfrm>
        <a:custGeom>
          <a:avLst/>
          <a:gdLst/>
          <a:ahLst/>
          <a:cxnLst/>
          <a:rect l="0" t="0" r="0" b="0"/>
          <a:pathLst>
            <a:path>
              <a:moveTo>
                <a:pt x="1112222" y="0"/>
              </a:moveTo>
              <a:lnTo>
                <a:pt x="1112222" y="193030"/>
              </a:lnTo>
              <a:lnTo>
                <a:pt x="0" y="193030"/>
              </a:lnTo>
              <a:lnTo>
                <a:pt x="0" y="3860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C81257-6E37-4A44-A084-BDB3AC5EBF2E}">
      <dsp:nvSpPr>
        <dsp:cNvPr id="0" name=""/>
        <dsp:cNvSpPr/>
      </dsp:nvSpPr>
      <dsp:spPr>
        <a:xfrm>
          <a:off x="2817790" y="615"/>
          <a:ext cx="1838383" cy="91919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305" tIns="27305" rIns="27305" bIns="27305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43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Value</a:t>
          </a:r>
        </a:p>
      </dsp:txBody>
      <dsp:txXfrm>
        <a:off x="2817790" y="615"/>
        <a:ext cx="1838383" cy="919191"/>
      </dsp:txXfrm>
    </dsp:sp>
    <dsp:sp modelId="{79CA0452-8E7A-4DA4-9864-5C63073C062A}">
      <dsp:nvSpPr>
        <dsp:cNvPr id="0" name=""/>
        <dsp:cNvSpPr/>
      </dsp:nvSpPr>
      <dsp:spPr>
        <a:xfrm>
          <a:off x="1705568" y="1305867"/>
          <a:ext cx="1838383" cy="91919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305" tIns="27305" rIns="27305" bIns="27305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43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Growth</a:t>
          </a:r>
        </a:p>
      </dsp:txBody>
      <dsp:txXfrm>
        <a:off x="1705568" y="1305867"/>
        <a:ext cx="1838383" cy="919191"/>
      </dsp:txXfrm>
    </dsp:sp>
    <dsp:sp modelId="{D9E1F38C-396D-4E1B-92DD-15ED1FACDCC6}">
      <dsp:nvSpPr>
        <dsp:cNvPr id="0" name=""/>
        <dsp:cNvSpPr/>
      </dsp:nvSpPr>
      <dsp:spPr>
        <a:xfrm>
          <a:off x="3930012" y="1305867"/>
          <a:ext cx="1838383" cy="91919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305" tIns="27305" rIns="27305" bIns="27305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43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ROIC</a:t>
          </a:r>
        </a:p>
      </dsp:txBody>
      <dsp:txXfrm>
        <a:off x="3930012" y="1305867"/>
        <a:ext cx="1838383" cy="9191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962B6F-AB2A-4060-837A-147EB04DE98D}">
      <dsp:nvSpPr>
        <dsp:cNvPr id="0" name=""/>
        <dsp:cNvSpPr/>
      </dsp:nvSpPr>
      <dsp:spPr>
        <a:xfrm>
          <a:off x="6034915" y="1095862"/>
          <a:ext cx="547434" cy="1900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009"/>
              </a:lnTo>
              <a:lnTo>
                <a:pt x="547434" y="95009"/>
              </a:lnTo>
              <a:lnTo>
                <a:pt x="547434" y="19001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3041DB-7C18-4040-A9B5-01414F238F50}">
      <dsp:nvSpPr>
        <dsp:cNvPr id="0" name=""/>
        <dsp:cNvSpPr/>
      </dsp:nvSpPr>
      <dsp:spPr>
        <a:xfrm>
          <a:off x="5487481" y="1095862"/>
          <a:ext cx="547434" cy="190018"/>
        </a:xfrm>
        <a:custGeom>
          <a:avLst/>
          <a:gdLst/>
          <a:ahLst/>
          <a:cxnLst/>
          <a:rect l="0" t="0" r="0" b="0"/>
          <a:pathLst>
            <a:path>
              <a:moveTo>
                <a:pt x="547434" y="0"/>
              </a:moveTo>
              <a:lnTo>
                <a:pt x="547434" y="95009"/>
              </a:lnTo>
              <a:lnTo>
                <a:pt x="0" y="95009"/>
              </a:lnTo>
              <a:lnTo>
                <a:pt x="0" y="19001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98DE2E-8310-4FD5-A508-4E694D57AFFD}">
      <dsp:nvSpPr>
        <dsp:cNvPr id="0" name=""/>
        <dsp:cNvSpPr/>
      </dsp:nvSpPr>
      <dsp:spPr>
        <a:xfrm>
          <a:off x="4666329" y="453419"/>
          <a:ext cx="1368586" cy="1900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009"/>
              </a:lnTo>
              <a:lnTo>
                <a:pt x="1368586" y="95009"/>
              </a:lnTo>
              <a:lnTo>
                <a:pt x="1368586" y="1900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612F13-CF91-444A-B1AF-F8DC7CFB9B48}">
      <dsp:nvSpPr>
        <dsp:cNvPr id="0" name=""/>
        <dsp:cNvSpPr/>
      </dsp:nvSpPr>
      <dsp:spPr>
        <a:xfrm>
          <a:off x="3297743" y="1095862"/>
          <a:ext cx="1094868" cy="1900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009"/>
              </a:lnTo>
              <a:lnTo>
                <a:pt x="1094868" y="95009"/>
              </a:lnTo>
              <a:lnTo>
                <a:pt x="1094868" y="19001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BD134B-93F4-4B8C-8B58-7D25A471567E}">
      <dsp:nvSpPr>
        <dsp:cNvPr id="0" name=""/>
        <dsp:cNvSpPr/>
      </dsp:nvSpPr>
      <dsp:spPr>
        <a:xfrm>
          <a:off x="2935803" y="1738306"/>
          <a:ext cx="135727" cy="10586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8674"/>
              </a:lnTo>
              <a:lnTo>
                <a:pt x="135727" y="10586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2F5E2D-4288-4521-BBB6-FE5AB731C3EE}">
      <dsp:nvSpPr>
        <dsp:cNvPr id="0" name=""/>
        <dsp:cNvSpPr/>
      </dsp:nvSpPr>
      <dsp:spPr>
        <a:xfrm>
          <a:off x="2935803" y="1738306"/>
          <a:ext cx="135727" cy="416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6231"/>
              </a:lnTo>
              <a:lnTo>
                <a:pt x="135727" y="4162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F21B0B-BF12-47D0-9222-AF9F49DA5731}">
      <dsp:nvSpPr>
        <dsp:cNvPr id="0" name=""/>
        <dsp:cNvSpPr/>
      </dsp:nvSpPr>
      <dsp:spPr>
        <a:xfrm>
          <a:off x="3252023" y="1095862"/>
          <a:ext cx="91440" cy="19001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001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1ECD11-40D4-458D-BF7C-595280EB99E7}">
      <dsp:nvSpPr>
        <dsp:cNvPr id="0" name=""/>
        <dsp:cNvSpPr/>
      </dsp:nvSpPr>
      <dsp:spPr>
        <a:xfrm>
          <a:off x="2202874" y="1095862"/>
          <a:ext cx="1094868" cy="190018"/>
        </a:xfrm>
        <a:custGeom>
          <a:avLst/>
          <a:gdLst/>
          <a:ahLst/>
          <a:cxnLst/>
          <a:rect l="0" t="0" r="0" b="0"/>
          <a:pathLst>
            <a:path>
              <a:moveTo>
                <a:pt x="1094868" y="0"/>
              </a:moveTo>
              <a:lnTo>
                <a:pt x="1094868" y="95009"/>
              </a:lnTo>
              <a:lnTo>
                <a:pt x="0" y="95009"/>
              </a:lnTo>
              <a:lnTo>
                <a:pt x="0" y="19001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7838FC-1B55-452D-9F5B-7C12277CE05A}">
      <dsp:nvSpPr>
        <dsp:cNvPr id="0" name=""/>
        <dsp:cNvSpPr/>
      </dsp:nvSpPr>
      <dsp:spPr>
        <a:xfrm>
          <a:off x="3297743" y="453419"/>
          <a:ext cx="1368586" cy="190018"/>
        </a:xfrm>
        <a:custGeom>
          <a:avLst/>
          <a:gdLst/>
          <a:ahLst/>
          <a:cxnLst/>
          <a:rect l="0" t="0" r="0" b="0"/>
          <a:pathLst>
            <a:path>
              <a:moveTo>
                <a:pt x="1368586" y="0"/>
              </a:moveTo>
              <a:lnTo>
                <a:pt x="1368586" y="95009"/>
              </a:lnTo>
              <a:lnTo>
                <a:pt x="0" y="95009"/>
              </a:lnTo>
              <a:lnTo>
                <a:pt x="0" y="1900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6FFCCB-7578-4B33-94A3-867C6A402211}">
      <dsp:nvSpPr>
        <dsp:cNvPr id="0" name=""/>
        <dsp:cNvSpPr/>
      </dsp:nvSpPr>
      <dsp:spPr>
        <a:xfrm>
          <a:off x="4213904" y="994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ROIC</a:t>
          </a:r>
        </a:p>
      </dsp:txBody>
      <dsp:txXfrm>
        <a:off x="4213904" y="994"/>
        <a:ext cx="904850" cy="452425"/>
      </dsp:txXfrm>
    </dsp:sp>
    <dsp:sp modelId="{480AB5D3-355C-4B60-9B61-67161055676A}">
      <dsp:nvSpPr>
        <dsp:cNvPr id="0" name=""/>
        <dsp:cNvSpPr/>
      </dsp:nvSpPr>
      <dsp:spPr>
        <a:xfrm>
          <a:off x="2845318" y="643437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NOPLAT</a:t>
          </a:r>
        </a:p>
      </dsp:txBody>
      <dsp:txXfrm>
        <a:off x="2845318" y="643437"/>
        <a:ext cx="904850" cy="452425"/>
      </dsp:txXfrm>
    </dsp:sp>
    <dsp:sp modelId="{AABD5265-CE8F-427E-876B-42E480B23C10}">
      <dsp:nvSpPr>
        <dsp:cNvPr id="0" name=""/>
        <dsp:cNvSpPr/>
      </dsp:nvSpPr>
      <dsp:spPr>
        <a:xfrm>
          <a:off x="1750449" y="1285881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Revenues</a:t>
          </a:r>
        </a:p>
      </dsp:txBody>
      <dsp:txXfrm>
        <a:off x="1750449" y="1285881"/>
        <a:ext cx="904850" cy="452425"/>
      </dsp:txXfrm>
    </dsp:sp>
    <dsp:sp modelId="{84061370-C2E6-408E-A961-2A52B49534BA}">
      <dsp:nvSpPr>
        <dsp:cNvPr id="0" name=""/>
        <dsp:cNvSpPr/>
      </dsp:nvSpPr>
      <dsp:spPr>
        <a:xfrm>
          <a:off x="2845318" y="1285881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Costs</a:t>
          </a:r>
        </a:p>
      </dsp:txBody>
      <dsp:txXfrm>
        <a:off x="2845318" y="1285881"/>
        <a:ext cx="904850" cy="452425"/>
      </dsp:txXfrm>
    </dsp:sp>
    <dsp:sp modelId="{7AF39878-0CE9-4349-8A21-21FB4547A6D8}">
      <dsp:nvSpPr>
        <dsp:cNvPr id="0" name=""/>
        <dsp:cNvSpPr/>
      </dsp:nvSpPr>
      <dsp:spPr>
        <a:xfrm>
          <a:off x="3071531" y="1928325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COGS</a:t>
          </a:r>
        </a:p>
      </dsp:txBody>
      <dsp:txXfrm>
        <a:off x="3071531" y="1928325"/>
        <a:ext cx="904850" cy="452425"/>
      </dsp:txXfrm>
    </dsp:sp>
    <dsp:sp modelId="{09E994C1-445C-4ECD-BA71-24ABF8F7AF8B}">
      <dsp:nvSpPr>
        <dsp:cNvPr id="0" name=""/>
        <dsp:cNvSpPr/>
      </dsp:nvSpPr>
      <dsp:spPr>
        <a:xfrm>
          <a:off x="3071531" y="2570768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SG&amp;A</a:t>
          </a:r>
        </a:p>
      </dsp:txBody>
      <dsp:txXfrm>
        <a:off x="3071531" y="2570768"/>
        <a:ext cx="904850" cy="452425"/>
      </dsp:txXfrm>
    </dsp:sp>
    <dsp:sp modelId="{CC7BDBB5-EE49-4BDD-9940-0CF9FE2B49BB}">
      <dsp:nvSpPr>
        <dsp:cNvPr id="0" name=""/>
        <dsp:cNvSpPr/>
      </dsp:nvSpPr>
      <dsp:spPr>
        <a:xfrm>
          <a:off x="3940187" y="1285881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Taxes</a:t>
          </a:r>
        </a:p>
      </dsp:txBody>
      <dsp:txXfrm>
        <a:off x="3940187" y="1285881"/>
        <a:ext cx="904850" cy="452425"/>
      </dsp:txXfrm>
    </dsp:sp>
    <dsp:sp modelId="{AB635FE8-B5C6-4B72-A210-10A8BD670025}">
      <dsp:nvSpPr>
        <dsp:cNvPr id="0" name=""/>
        <dsp:cNvSpPr/>
      </dsp:nvSpPr>
      <dsp:spPr>
        <a:xfrm>
          <a:off x="5582490" y="643437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IC</a:t>
          </a:r>
        </a:p>
      </dsp:txBody>
      <dsp:txXfrm>
        <a:off x="5582490" y="643437"/>
        <a:ext cx="904850" cy="452425"/>
      </dsp:txXfrm>
    </dsp:sp>
    <dsp:sp modelId="{47FD0C25-102D-4CF6-B437-0CF7BDFF2BAF}">
      <dsp:nvSpPr>
        <dsp:cNvPr id="0" name=""/>
        <dsp:cNvSpPr/>
      </dsp:nvSpPr>
      <dsp:spPr>
        <a:xfrm>
          <a:off x="5035056" y="1285881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NET PP&amp;E</a:t>
          </a:r>
        </a:p>
      </dsp:txBody>
      <dsp:txXfrm>
        <a:off x="5035056" y="1285881"/>
        <a:ext cx="904850" cy="452425"/>
      </dsp:txXfrm>
    </dsp:sp>
    <dsp:sp modelId="{A0730C12-5D1E-44AE-8F22-A4A093B3004B}">
      <dsp:nvSpPr>
        <dsp:cNvPr id="0" name=""/>
        <dsp:cNvSpPr/>
      </dsp:nvSpPr>
      <dsp:spPr>
        <a:xfrm>
          <a:off x="6129925" y="1285881"/>
          <a:ext cx="904850" cy="4524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89535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altLang="en-US" sz="140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Working capital</a:t>
          </a:r>
        </a:p>
      </dsp:txBody>
      <dsp:txXfrm>
        <a:off x="6129925" y="1285881"/>
        <a:ext cx="904850" cy="4524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F754A82E-2C9D-4163-BE27-F55D2869180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defTabSz="922338" eaLnBrk="1" hangingPunct="1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C7713264-9726-4E07-B40F-FE454A8CC8B3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245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816F5171-B5D7-4A92-90A7-FD9B76DA52CC}" type="datetime1">
              <a:rPr lang="en-US"/>
              <a:pPr>
                <a:defRPr/>
              </a:pPr>
              <a:t>3/9/2022</a:t>
            </a:fld>
            <a:endParaRPr lang="en-US"/>
          </a:p>
        </p:txBody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02EE89DE-B2D9-4742-8B91-40BE66FBFCBE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2450" y="6473825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b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B7C77B4B-ABA7-4F00-99AA-43BDCA0720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>
            <a:extLst>
              <a:ext uri="{FF2B5EF4-FFF2-40B4-BE49-F238E27FC236}">
                <a16:creationId xmlns:a16="http://schemas.microsoft.com/office/drawing/2014/main" id="{695F0F23-1500-4B7F-A898-6D0D0F8743B3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1063625" y="877888"/>
            <a:ext cx="7756525" cy="581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034E6E2E-C80C-47E9-857C-549478CF1F5B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1189038" y="419100"/>
            <a:ext cx="760730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127" name="pg num">
            <a:extLst>
              <a:ext uri="{FF2B5EF4-FFF2-40B4-BE49-F238E27FC236}">
                <a16:creationId xmlns:a16="http://schemas.microsoft.com/office/drawing/2014/main" id="{A7786663-3620-4DB5-8775-3C6EAC074A4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8851900" y="6496050"/>
            <a:ext cx="792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DE370939-DBE4-4694-81F8-E09FA1D27D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149" name="McK Separator" hidden="1">
            <a:extLst>
              <a:ext uri="{FF2B5EF4-FFF2-40B4-BE49-F238E27FC236}">
                <a16:creationId xmlns:a16="http://schemas.microsoft.com/office/drawing/2014/main" id="{BCF5A445-ED03-4553-A556-7C09B6B9CEF3}"/>
              </a:ext>
            </a:extLst>
          </p:cNvPr>
          <p:cNvSpPr>
            <a:spLocks noChangeShapeType="1"/>
          </p:cNvSpPr>
          <p:nvPr/>
        </p:nvSpPr>
        <p:spPr bwMode="gray">
          <a:xfrm>
            <a:off x="1190625" y="1036638"/>
            <a:ext cx="7604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BD31D9-E610-443A-A64E-0633CE5830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06357-E65D-4F59-A799-088AC5A355E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3245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068CDCC3-250B-4CC0-81E8-60E7ACA1D99B}" type="datetimeFigureOut">
              <a:rPr lang="en-GB"/>
              <a:pPr>
                <a:defRPr/>
              </a:pPr>
              <a:t>09/03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5B7296-5F57-4F8B-AEED-61694486F0F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470650"/>
            <a:ext cx="430847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g num">
            <a:extLst>
              <a:ext uri="{FF2B5EF4-FFF2-40B4-BE49-F238E27FC236}">
                <a16:creationId xmlns:a16="http://schemas.microsoft.com/office/drawing/2014/main" id="{9DF4FC2A-F322-40DB-8E37-F625E34499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0C2FD78-061B-4949-96A1-614833D698E6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0</a:t>
            </a:fld>
            <a:endParaRPr lang="en-US" altLang="en-US" sz="1200" b="0"/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E014D00F-B74A-4C07-AFAB-2B7D2A110C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220" name="Rectangle 3">
            <a:extLst>
              <a:ext uri="{FF2B5EF4-FFF2-40B4-BE49-F238E27FC236}">
                <a16:creationId xmlns:a16="http://schemas.microsoft.com/office/drawing/2014/main" id="{B53B4CE6-DA5E-479C-B66C-AF0F3682A1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9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79497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0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7566965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1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40856974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pg num">
            <a:extLst>
              <a:ext uri="{FF2B5EF4-FFF2-40B4-BE49-F238E27FC236}">
                <a16:creationId xmlns:a16="http://schemas.microsoft.com/office/drawing/2014/main" id="{8149FC6E-73D4-43D0-B1D5-0BCF6E343D0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2CFEA28-91A6-4F2D-BBBE-F80AAD19F3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2</a:t>
            </a:fld>
            <a:endParaRPr lang="en-US" altLang="en-US" sz="1200" b="0"/>
          </a:p>
        </p:txBody>
      </p:sp>
      <p:sp>
        <p:nvSpPr>
          <p:cNvPr id="50179" name="Rectangle 2">
            <a:extLst>
              <a:ext uri="{FF2B5EF4-FFF2-40B4-BE49-F238E27FC236}">
                <a16:creationId xmlns:a16="http://schemas.microsoft.com/office/drawing/2014/main" id="{D6E1C341-4D16-4312-A2F5-E3FB7899A84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0180" name="Rectangle 3">
            <a:extLst>
              <a:ext uri="{FF2B5EF4-FFF2-40B4-BE49-F238E27FC236}">
                <a16:creationId xmlns:a16="http://schemas.microsoft.com/office/drawing/2014/main" id="{99AD4FAC-8EED-4244-8FED-7C36DC6E662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5BC9C278-F5F7-43B9-9D11-9B83B0D9185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40C4704F-6C24-40B4-9246-9CD69F23DD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56324" name="Slide Number Placeholder 3">
            <a:extLst>
              <a:ext uri="{FF2B5EF4-FFF2-40B4-BE49-F238E27FC236}">
                <a16:creationId xmlns:a16="http://schemas.microsoft.com/office/drawing/2014/main" id="{A16DB196-B53A-477C-9319-73CA093B92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5A171A6-D2D1-423C-891D-BD36AFE40F4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3</a:t>
            </a:fld>
            <a:endParaRPr lang="en-US" altLang="en-US" sz="1200" b="0"/>
          </a:p>
        </p:txBody>
      </p:sp>
      <p:sp>
        <p:nvSpPr>
          <p:cNvPr id="56325" name="Footer Placeholder 4">
            <a:extLst>
              <a:ext uri="{FF2B5EF4-FFF2-40B4-BE49-F238E27FC236}">
                <a16:creationId xmlns:a16="http://schemas.microsoft.com/office/drawing/2014/main" id="{997D5A28-8131-43C9-816D-D4907348D4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  <p:extLst>
      <p:ext uri="{BB962C8B-B14F-4D97-AF65-F5344CB8AC3E}">
        <p14:creationId xmlns:p14="http://schemas.microsoft.com/office/powerpoint/2010/main" val="13171900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4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343266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>
            <a:extLst>
              <a:ext uri="{FF2B5EF4-FFF2-40B4-BE49-F238E27FC236}">
                <a16:creationId xmlns:a16="http://schemas.microsoft.com/office/drawing/2014/main" id="{EF7184A7-3561-4540-B05E-AEF29617E72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4755" name="Notes Placeholder 2">
            <a:extLst>
              <a:ext uri="{FF2B5EF4-FFF2-40B4-BE49-F238E27FC236}">
                <a16:creationId xmlns:a16="http://schemas.microsoft.com/office/drawing/2014/main" id="{FEAFF524-9E51-4DCF-B732-B9DD1CA1F8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4756" name="Slide Number Placeholder 3">
            <a:extLst>
              <a:ext uri="{FF2B5EF4-FFF2-40B4-BE49-F238E27FC236}">
                <a16:creationId xmlns:a16="http://schemas.microsoft.com/office/drawing/2014/main" id="{B7DA9D4B-73C7-4629-B918-DD96EB0C9E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4F6AAFD-CB04-4732-BB82-FA976A9D62CB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5</a:t>
            </a:fld>
            <a:endParaRPr lang="en-US" altLang="en-US" sz="1200" b="0"/>
          </a:p>
        </p:txBody>
      </p:sp>
      <p:sp>
        <p:nvSpPr>
          <p:cNvPr id="74757" name="Footer Placeholder 4">
            <a:extLst>
              <a:ext uri="{FF2B5EF4-FFF2-40B4-BE49-F238E27FC236}">
                <a16:creationId xmlns:a16="http://schemas.microsoft.com/office/drawing/2014/main" id="{EE533DE0-6F47-4336-9708-B42D214F9A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5432250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7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0716678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8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63987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pg num">
            <a:extLst>
              <a:ext uri="{FF2B5EF4-FFF2-40B4-BE49-F238E27FC236}">
                <a16:creationId xmlns:a16="http://schemas.microsoft.com/office/drawing/2014/main" id="{72FF617F-E9B4-4BA3-A251-EC602D90C5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18308A5C-0C88-4B28-996E-F2F8EB734761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</a:t>
            </a:fld>
            <a:endParaRPr lang="en-US" altLang="en-US" sz="1200" b="0"/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EC2EA379-5B21-48B6-B153-4858E395BEB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DB18040D-FD83-42F2-A70E-78D49CA2FF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9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5822061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pg num">
            <a:extLst>
              <a:ext uri="{FF2B5EF4-FFF2-40B4-BE49-F238E27FC236}">
                <a16:creationId xmlns:a16="http://schemas.microsoft.com/office/drawing/2014/main" id="{50783A97-F2D0-4ECE-B436-0D5DDA2573A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E63B75AD-57C5-4063-947D-361C897E3218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0</a:t>
            </a:fld>
            <a:endParaRPr lang="en-US" altLang="en-US" sz="1200" b="0"/>
          </a:p>
        </p:txBody>
      </p:sp>
      <p:sp>
        <p:nvSpPr>
          <p:cNvPr id="72707" name="Rectangle 2">
            <a:extLst>
              <a:ext uri="{FF2B5EF4-FFF2-40B4-BE49-F238E27FC236}">
                <a16:creationId xmlns:a16="http://schemas.microsoft.com/office/drawing/2014/main" id="{F2AABDB7-3139-404A-9B52-172B45FDEEB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72708" name="Rectangle 3">
            <a:extLst>
              <a:ext uri="{FF2B5EF4-FFF2-40B4-BE49-F238E27FC236}">
                <a16:creationId xmlns:a16="http://schemas.microsoft.com/office/drawing/2014/main" id="{4D23DE2E-5E0D-45F1-B0FE-C71CC3CDA59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1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3772395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>
            <a:extLst>
              <a:ext uri="{FF2B5EF4-FFF2-40B4-BE49-F238E27FC236}">
                <a16:creationId xmlns:a16="http://schemas.microsoft.com/office/drawing/2014/main" id="{C8BC69E1-F4DC-4A07-935D-2B5BA39786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51203" name="Notes Placeholder 2">
            <a:extLst>
              <a:ext uri="{FF2B5EF4-FFF2-40B4-BE49-F238E27FC236}">
                <a16:creationId xmlns:a16="http://schemas.microsoft.com/office/drawing/2014/main" id="{6234442D-4927-4000-81D4-85BE5F576A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51204" name="Slide Number Placeholder 3">
            <a:extLst>
              <a:ext uri="{FF2B5EF4-FFF2-40B4-BE49-F238E27FC236}">
                <a16:creationId xmlns:a16="http://schemas.microsoft.com/office/drawing/2014/main" id="{19E004B5-EA3A-4498-85B6-2A96FA22FF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69BE8623-2386-478C-B6D2-30A96297A8CC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2</a:t>
            </a:fld>
            <a:endParaRPr lang="en-US" altLang="en-US" sz="1200" b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>
            <a:extLst>
              <a:ext uri="{FF2B5EF4-FFF2-40B4-BE49-F238E27FC236}">
                <a16:creationId xmlns:a16="http://schemas.microsoft.com/office/drawing/2014/main" id="{65550873-8B0C-4618-B570-CC725DFCD10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53251" name="Notes Placeholder 2">
            <a:extLst>
              <a:ext uri="{FF2B5EF4-FFF2-40B4-BE49-F238E27FC236}">
                <a16:creationId xmlns:a16="http://schemas.microsoft.com/office/drawing/2014/main" id="{8CBC77BB-A4E9-488C-82F2-0D5482BAC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53252" name="Slide Number Placeholder 3">
            <a:extLst>
              <a:ext uri="{FF2B5EF4-FFF2-40B4-BE49-F238E27FC236}">
                <a16:creationId xmlns:a16="http://schemas.microsoft.com/office/drawing/2014/main" id="{290474C0-1F8C-42CA-8BFB-72160DF26E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20952BC8-FC4C-41E7-86D1-CC155018BA1E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3</a:t>
            </a:fld>
            <a:endParaRPr lang="en-US" altLang="en-US" sz="1200" b="0"/>
          </a:p>
        </p:txBody>
      </p:sp>
      <p:sp>
        <p:nvSpPr>
          <p:cNvPr id="53253" name="Footer Placeholder 4">
            <a:extLst>
              <a:ext uri="{FF2B5EF4-FFF2-40B4-BE49-F238E27FC236}">
                <a16:creationId xmlns:a16="http://schemas.microsoft.com/office/drawing/2014/main" id="{DEF4C0D0-02F7-4C93-BB00-7F14C9653A6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>
            <a:extLst>
              <a:ext uri="{FF2B5EF4-FFF2-40B4-BE49-F238E27FC236}">
                <a16:creationId xmlns:a16="http://schemas.microsoft.com/office/drawing/2014/main" id="{DF444791-AE9C-426E-91ED-420784DB7C7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54275" name="Notes Placeholder 2">
            <a:extLst>
              <a:ext uri="{FF2B5EF4-FFF2-40B4-BE49-F238E27FC236}">
                <a16:creationId xmlns:a16="http://schemas.microsoft.com/office/drawing/2014/main" id="{349E4261-0777-44CF-A30B-2AB0DF1DED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54276" name="Slide Number Placeholder 3">
            <a:extLst>
              <a:ext uri="{FF2B5EF4-FFF2-40B4-BE49-F238E27FC236}">
                <a16:creationId xmlns:a16="http://schemas.microsoft.com/office/drawing/2014/main" id="{0B2B1073-9A4F-4489-B485-E30E35B17D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ACB617E6-4BB5-48B8-8DC8-487304CED86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4</a:t>
            </a:fld>
            <a:endParaRPr lang="en-US" altLang="en-US" sz="1200" b="0"/>
          </a:p>
        </p:txBody>
      </p:sp>
      <p:sp>
        <p:nvSpPr>
          <p:cNvPr id="54277" name="Footer Placeholder 4">
            <a:extLst>
              <a:ext uri="{FF2B5EF4-FFF2-40B4-BE49-F238E27FC236}">
                <a16:creationId xmlns:a16="http://schemas.microsoft.com/office/drawing/2014/main" id="{74B7D41A-4FAD-438B-A152-98357D198EA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pg num">
            <a:extLst>
              <a:ext uri="{FF2B5EF4-FFF2-40B4-BE49-F238E27FC236}">
                <a16:creationId xmlns:a16="http://schemas.microsoft.com/office/drawing/2014/main" id="{101822C4-9D27-4F83-A120-618CB909F78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FA79740-2FCF-48FE-A568-0495F5D95B71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5</a:t>
            </a:fld>
            <a:endParaRPr lang="en-US" altLang="en-US" sz="1200" b="0"/>
          </a:p>
        </p:txBody>
      </p:sp>
      <p:sp>
        <p:nvSpPr>
          <p:cNvPr id="58371" name="Rectangle 2">
            <a:extLst>
              <a:ext uri="{FF2B5EF4-FFF2-40B4-BE49-F238E27FC236}">
                <a16:creationId xmlns:a16="http://schemas.microsoft.com/office/drawing/2014/main" id="{5C71862B-A87D-43AC-AC09-195CCB01543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8372" name="Rectangle 3">
            <a:extLst>
              <a:ext uri="{FF2B5EF4-FFF2-40B4-BE49-F238E27FC236}">
                <a16:creationId xmlns:a16="http://schemas.microsoft.com/office/drawing/2014/main" id="{4269DE95-79C2-48F7-A4FE-022A1D6C5FD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pg num">
            <a:extLst>
              <a:ext uri="{FF2B5EF4-FFF2-40B4-BE49-F238E27FC236}">
                <a16:creationId xmlns:a16="http://schemas.microsoft.com/office/drawing/2014/main" id="{2BB13BAA-FEF1-4B5A-B90C-2FD5ECCCA86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B2206AD-0FBF-4B55-96CD-8855CE3AAD1C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6</a:t>
            </a:fld>
            <a:endParaRPr lang="en-US" altLang="en-US" sz="1200" b="0"/>
          </a:p>
        </p:txBody>
      </p:sp>
      <p:sp>
        <p:nvSpPr>
          <p:cNvPr id="60419" name="Rectangle 2">
            <a:extLst>
              <a:ext uri="{FF2B5EF4-FFF2-40B4-BE49-F238E27FC236}">
                <a16:creationId xmlns:a16="http://schemas.microsoft.com/office/drawing/2014/main" id="{E051A352-430D-4919-B3A4-0C1DFA8893A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84525" y="468313"/>
            <a:ext cx="3243263" cy="2432050"/>
          </a:xfrm>
        </p:spPr>
      </p:sp>
      <p:sp>
        <p:nvSpPr>
          <p:cNvPr id="60420" name="Rectangle 3">
            <a:extLst>
              <a:ext uri="{FF2B5EF4-FFF2-40B4-BE49-F238E27FC236}">
                <a16:creationId xmlns:a16="http://schemas.microsoft.com/office/drawing/2014/main" id="{0644B5B4-C251-48CB-BDD4-6FB510D3C70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4063" y="3062288"/>
            <a:ext cx="8261350" cy="27686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b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pg num">
            <a:extLst>
              <a:ext uri="{FF2B5EF4-FFF2-40B4-BE49-F238E27FC236}">
                <a16:creationId xmlns:a16="http://schemas.microsoft.com/office/drawing/2014/main" id="{DDCC4F17-A22C-4B74-A656-3ED9F6BC28B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47C9DDA-982D-4E2D-8D78-B3F2B844C0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7</a:t>
            </a:fld>
            <a:endParaRPr lang="en-US" altLang="en-US" sz="1200" b="0"/>
          </a:p>
        </p:txBody>
      </p:sp>
      <p:sp>
        <p:nvSpPr>
          <p:cNvPr id="93187" name="Rectangle 2">
            <a:extLst>
              <a:ext uri="{FF2B5EF4-FFF2-40B4-BE49-F238E27FC236}">
                <a16:creationId xmlns:a16="http://schemas.microsoft.com/office/drawing/2014/main" id="{C8E264A2-7BEE-41AD-949D-D3042A4CD4A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3188" name="Rectangle 3">
            <a:extLst>
              <a:ext uri="{FF2B5EF4-FFF2-40B4-BE49-F238E27FC236}">
                <a16:creationId xmlns:a16="http://schemas.microsoft.com/office/drawing/2014/main" id="{3354C846-6B25-4E75-B36E-DA771BF0B9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8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g num">
            <a:extLst>
              <a:ext uri="{FF2B5EF4-FFF2-40B4-BE49-F238E27FC236}">
                <a16:creationId xmlns:a16="http://schemas.microsoft.com/office/drawing/2014/main" id="{CF6E3C4F-47D5-43F8-9FEF-A1D2B12C5B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4545C848-DFFD-4485-B426-1177953A5840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</a:t>
            </a:fld>
            <a:endParaRPr lang="en-US" altLang="en-US" sz="1200" b="0"/>
          </a:p>
        </p:txBody>
      </p:sp>
      <p:sp>
        <p:nvSpPr>
          <p:cNvPr id="19459" name="Rectangle 2">
            <a:extLst>
              <a:ext uri="{FF2B5EF4-FFF2-40B4-BE49-F238E27FC236}">
                <a16:creationId xmlns:a16="http://schemas.microsoft.com/office/drawing/2014/main" id="{9BDE93CF-57E2-4D01-B297-59D9DCBD6C7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9460" name="Rectangle 3">
            <a:extLst>
              <a:ext uri="{FF2B5EF4-FFF2-40B4-BE49-F238E27FC236}">
                <a16:creationId xmlns:a16="http://schemas.microsoft.com/office/drawing/2014/main" id="{09706597-502B-4430-93ED-1CB9A5F573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pg num">
            <a:extLst>
              <a:ext uri="{FF2B5EF4-FFF2-40B4-BE49-F238E27FC236}">
                <a16:creationId xmlns:a16="http://schemas.microsoft.com/office/drawing/2014/main" id="{55D994A0-4A7B-4DE9-B69A-FAF444448D4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3617B23C-FC1A-4098-8F0F-7A282A1E972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9</a:t>
            </a:fld>
            <a:endParaRPr lang="en-US" altLang="en-US" sz="1200" b="0"/>
          </a:p>
        </p:txBody>
      </p:sp>
      <p:sp>
        <p:nvSpPr>
          <p:cNvPr id="117763" name="Rectangle 2">
            <a:extLst>
              <a:ext uri="{FF2B5EF4-FFF2-40B4-BE49-F238E27FC236}">
                <a16:creationId xmlns:a16="http://schemas.microsoft.com/office/drawing/2014/main" id="{C3C0D175-D18F-448A-95C4-11EA598865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17764" name="Rectangle 3">
            <a:extLst>
              <a:ext uri="{FF2B5EF4-FFF2-40B4-BE49-F238E27FC236}">
                <a16:creationId xmlns:a16="http://schemas.microsoft.com/office/drawing/2014/main" id="{2F8BCEE5-1747-478E-8A42-8CA5EF7FB8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pg num">
            <a:extLst>
              <a:ext uri="{FF2B5EF4-FFF2-40B4-BE49-F238E27FC236}">
                <a16:creationId xmlns:a16="http://schemas.microsoft.com/office/drawing/2014/main" id="{189A259C-7EB5-4D55-AD5F-2B6B910D75D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588C19EF-A4FE-4886-8921-E736D2321DE0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</a:t>
            </a:fld>
            <a:endParaRPr lang="en-US" altLang="en-US" sz="1200" b="0"/>
          </a:p>
        </p:txBody>
      </p:sp>
      <p:sp>
        <p:nvSpPr>
          <p:cNvPr id="78851" name="Rectangle 2">
            <a:extLst>
              <a:ext uri="{FF2B5EF4-FFF2-40B4-BE49-F238E27FC236}">
                <a16:creationId xmlns:a16="http://schemas.microsoft.com/office/drawing/2014/main" id="{3B93276E-CC4F-42F2-9C9B-A896A4C0B1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70038" y="277813"/>
            <a:ext cx="2268537" cy="1701800"/>
          </a:xfrm>
        </p:spPr>
      </p:sp>
      <p:sp>
        <p:nvSpPr>
          <p:cNvPr id="78852" name="Rectangle 3">
            <a:extLst>
              <a:ext uri="{FF2B5EF4-FFF2-40B4-BE49-F238E27FC236}">
                <a16:creationId xmlns:a16="http://schemas.microsoft.com/office/drawing/2014/main" id="{61E47B13-EB8A-4978-9745-B292CE9A179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96875" y="2198688"/>
            <a:ext cx="8832850" cy="39989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5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996713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59000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7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767170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8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524679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/Relationships>
</file>

<file path=ppt/slideLayouts/_rels/slideLayout12.xml.rels><?xml version="1.0" encoding="UTF-8" standalone="yes"?>
<Relationships xmlns="http://schemas.openxmlformats.org/package/2006/relationships"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tags" Target="../tags/tag93.xml"/><Relationship Id="rId39" Type="http://schemas.openxmlformats.org/officeDocument/2006/relationships/tags" Target="../tags/tag106.xml"/><Relationship Id="rId3" Type="http://schemas.openxmlformats.org/officeDocument/2006/relationships/tags" Target="../tags/tag70.xml"/><Relationship Id="rId21" Type="http://schemas.openxmlformats.org/officeDocument/2006/relationships/tags" Target="../tags/tag88.xml"/><Relationship Id="rId34" Type="http://schemas.openxmlformats.org/officeDocument/2006/relationships/tags" Target="../tags/tag101.xml"/><Relationship Id="rId42" Type="http://schemas.openxmlformats.org/officeDocument/2006/relationships/tags" Target="../tags/tag109.xml"/><Relationship Id="rId47" Type="http://schemas.openxmlformats.org/officeDocument/2006/relationships/tags" Target="../tags/tag114.xml"/><Relationship Id="rId50" Type="http://schemas.openxmlformats.org/officeDocument/2006/relationships/oleObject" Target="../embeddings/oleObject3.bin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tags" Target="../tags/tag92.xml"/><Relationship Id="rId33" Type="http://schemas.openxmlformats.org/officeDocument/2006/relationships/tags" Target="../tags/tag100.xml"/><Relationship Id="rId38" Type="http://schemas.openxmlformats.org/officeDocument/2006/relationships/tags" Target="../tags/tag105.xml"/><Relationship Id="rId46" Type="http://schemas.openxmlformats.org/officeDocument/2006/relationships/tags" Target="../tags/tag113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tags" Target="../tags/tag96.xml"/><Relationship Id="rId41" Type="http://schemas.openxmlformats.org/officeDocument/2006/relationships/tags" Target="../tags/tag108.xml"/><Relationship Id="rId1" Type="http://schemas.openxmlformats.org/officeDocument/2006/relationships/vmlDrawing" Target="../drawings/vmlDrawing3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32" Type="http://schemas.openxmlformats.org/officeDocument/2006/relationships/tags" Target="../tags/tag99.xml"/><Relationship Id="rId37" Type="http://schemas.openxmlformats.org/officeDocument/2006/relationships/tags" Target="../tags/tag104.xml"/><Relationship Id="rId40" Type="http://schemas.openxmlformats.org/officeDocument/2006/relationships/tags" Target="../tags/tag107.xml"/><Relationship Id="rId45" Type="http://schemas.openxmlformats.org/officeDocument/2006/relationships/tags" Target="../tags/tag112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tags" Target="../tags/tag95.xml"/><Relationship Id="rId36" Type="http://schemas.openxmlformats.org/officeDocument/2006/relationships/tags" Target="../tags/tag103.xml"/><Relationship Id="rId49" Type="http://schemas.openxmlformats.org/officeDocument/2006/relationships/slideMaster" Target="../slideMasters/slideMaster1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tags" Target="../tags/tag98.xml"/><Relationship Id="rId44" Type="http://schemas.openxmlformats.org/officeDocument/2006/relationships/tags" Target="../tags/tag111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tags" Target="../tags/tag94.xml"/><Relationship Id="rId30" Type="http://schemas.openxmlformats.org/officeDocument/2006/relationships/tags" Target="../tags/tag97.xml"/><Relationship Id="rId35" Type="http://schemas.openxmlformats.org/officeDocument/2006/relationships/tags" Target="../tags/tag102.xml"/><Relationship Id="rId43" Type="http://schemas.openxmlformats.org/officeDocument/2006/relationships/tags" Target="../tags/tag110.xml"/><Relationship Id="rId48" Type="http://schemas.openxmlformats.org/officeDocument/2006/relationships/tags" Target="../tags/tag115.xml"/><Relationship Id="rId8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78" hidden="1">
            <a:extLst>
              <a:ext uri="{FF2B5EF4-FFF2-40B4-BE49-F238E27FC236}">
                <a16:creationId xmlns:a16="http://schemas.microsoft.com/office/drawing/2014/main" id="{98A355F9-CBBC-4A9B-B96D-D8DAB54E02B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0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4098" name="Rectangle 1078" hidden="1">
                        <a:extLst>
                          <a:ext uri="{FF2B5EF4-FFF2-40B4-BE49-F238E27FC236}">
                            <a16:creationId xmlns:a16="http://schemas.microsoft.com/office/drawing/2014/main" id="{69BA4799-5A89-413C-B22B-3D351FF3A80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Title Elements" hidden="1">
            <a:extLst>
              <a:ext uri="{FF2B5EF4-FFF2-40B4-BE49-F238E27FC236}">
                <a16:creationId xmlns:a16="http://schemas.microsoft.com/office/drawing/2014/main" id="{805ADFF1-D984-45BD-BC7B-C623327FDB6E}"/>
              </a:ext>
            </a:extLst>
          </p:cNvPr>
          <p:cNvGrpSpPr>
            <a:grpSpLocks/>
          </p:cNvGrpSpPr>
          <p:nvPr/>
        </p:nvGrpSpPr>
        <p:grpSpPr bwMode="auto">
          <a:xfrm>
            <a:off x="193675" y="236538"/>
            <a:ext cx="8669338" cy="6145212"/>
            <a:chOff x="122" y="149"/>
            <a:chExt cx="5461" cy="3871"/>
          </a:xfrm>
        </p:grpSpPr>
        <p:sp>
          <p:nvSpPr>
            <p:cNvPr id="6" name="McK Confidential" hidden="1">
              <a:extLst>
                <a:ext uri="{FF2B5EF4-FFF2-40B4-BE49-F238E27FC236}">
                  <a16:creationId xmlns:a16="http://schemas.microsoft.com/office/drawing/2014/main" id="{CDD01BA0-3C4B-48ED-9CB6-6205BA41172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929" y="1005"/>
              <a:ext cx="93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CONFIDENTIAL</a:t>
              </a:r>
            </a:p>
          </p:txBody>
        </p:sp>
        <p:sp>
          <p:nvSpPr>
            <p:cNvPr id="7" name="McK Document Head" hidden="1">
              <a:extLst>
                <a:ext uri="{FF2B5EF4-FFF2-40B4-BE49-F238E27FC236}">
                  <a16:creationId xmlns:a16="http://schemas.microsoft.com/office/drawing/2014/main" id="{54B70C9D-6A47-4655-B2B0-D028457757B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2" y="149"/>
              <a:ext cx="2686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Presentation</a:t>
              </a:r>
            </a:p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Date</a:t>
              </a:r>
            </a:p>
          </p:txBody>
        </p:sp>
        <p:sp>
          <p:nvSpPr>
            <p:cNvPr id="8" name="McK Disclaimer" hidden="1">
              <a:extLst>
                <a:ext uri="{FF2B5EF4-FFF2-40B4-BE49-F238E27FC236}">
                  <a16:creationId xmlns:a16="http://schemas.microsoft.com/office/drawing/2014/main" id="{25DC3AD9-7BBA-4C16-B4BA-B97F53EC191C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29" y="3685"/>
              <a:ext cx="2654" cy="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sz="700">
                  <a:solidFill>
                    <a:srgbClr val="676767"/>
                  </a:solidFill>
                </a:rPr>
                <a:t>This report contains information that is confidential and proprietary to McKinsey &amp; Company, Inc., and is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solely for the use of McKinsey &amp; Company, Inc., personnel. No part of it may be used, circulated, quoted,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or reproduced for distribution outside McKinsey &amp; Company, Inc. If you are not the intended recipient of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this report, you are hereby notified that the use, circulation, quoting, or reproducing of this report is strictly prohibited and may be unlawful.</a:t>
              </a:r>
            </a:p>
          </p:txBody>
        </p:sp>
      </p:grpSp>
      <p:grpSp>
        <p:nvGrpSpPr>
          <p:cNvPr id="9" name="Group 1113">
            <a:extLst>
              <a:ext uri="{FF2B5EF4-FFF2-40B4-BE49-F238E27FC236}">
                <a16:creationId xmlns:a16="http://schemas.microsoft.com/office/drawing/2014/main" id="{D5630363-2A64-46C6-AFC1-69751FED9A5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10" name="Rectangle 1085">
              <a:extLst>
                <a:ext uri="{FF2B5EF4-FFF2-40B4-BE49-F238E27FC236}">
                  <a16:creationId xmlns:a16="http://schemas.microsoft.com/office/drawing/2014/main" id="{9513CD56-F1DE-4959-9D8A-69A01924F79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1" name="Rectangle 1086">
              <a:extLst>
                <a:ext uri="{FF2B5EF4-FFF2-40B4-BE49-F238E27FC236}">
                  <a16:creationId xmlns:a16="http://schemas.microsoft.com/office/drawing/2014/main" id="{AEBDAE61-72D8-48DA-B8D9-FCF074663D5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2" name="Rectangle 1087">
              <a:extLst>
                <a:ext uri="{FF2B5EF4-FFF2-40B4-BE49-F238E27FC236}">
                  <a16:creationId xmlns:a16="http://schemas.microsoft.com/office/drawing/2014/main" id="{A883DE41-248E-4C98-984F-EEB3E81E664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sp>
        <p:nvSpPr>
          <p:cNvPr id="13" name="Working Draft" hidden="1">
            <a:extLst>
              <a:ext uri="{FF2B5EF4-FFF2-40B4-BE49-F238E27FC236}">
                <a16:creationId xmlns:a16="http://schemas.microsoft.com/office/drawing/2014/main" id="{983741F5-72E3-4F67-BE60-7626494AF3C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49788" y="311150"/>
            <a:ext cx="311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676767"/>
                </a:solidFill>
              </a:rPr>
              <a:t>Last Modified 2/12/2007 10:15:32 AM W. Europe Standard Time</a:t>
            </a:r>
          </a:p>
        </p:txBody>
      </p:sp>
      <p:sp>
        <p:nvSpPr>
          <p:cNvPr id="14" name="Printed" hidden="1">
            <a:extLst>
              <a:ext uri="{FF2B5EF4-FFF2-40B4-BE49-F238E27FC236}">
                <a16:creationId xmlns:a16="http://schemas.microsoft.com/office/drawing/2014/main" id="{E44615DA-65C4-400B-A80D-C2A43794A12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49788" y="474663"/>
            <a:ext cx="2578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676767"/>
                </a:solidFill>
              </a:rPr>
              <a:t>Printed 11/30/2006 3:13:02 AM India Standard Time</a:t>
            </a:r>
            <a:endParaRPr lang="en-US" sz="900">
              <a:solidFill>
                <a:srgbClr val="676767"/>
              </a:solidFill>
            </a:endParaRPr>
          </a:p>
        </p:txBody>
      </p:sp>
      <p:sp>
        <p:nvSpPr>
          <p:cNvPr id="15" name="Working Draft Text" hidden="1">
            <a:extLst>
              <a:ext uri="{FF2B5EF4-FFF2-40B4-BE49-F238E27FC236}">
                <a16:creationId xmlns:a16="http://schemas.microsoft.com/office/drawing/2014/main" id="{F68AE1DE-5598-4E13-8D2D-9F704533344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49788" y="133350"/>
            <a:ext cx="774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rgbClr val="676767"/>
                </a:solidFill>
              </a:rPr>
              <a:t>Working Draft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49788" y="3032125"/>
            <a:ext cx="4078287" cy="1098550"/>
          </a:xfrm>
        </p:spPr>
        <p:txBody>
          <a:bodyPr anchor="ctr"/>
          <a:lstStyle>
            <a:lvl1pPr>
              <a:defRPr sz="4000">
                <a:solidFill>
                  <a:srgbClr val="FFAC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649788" y="5002213"/>
            <a:ext cx="4078287" cy="2127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47677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A6D285DC-1D62-4D79-86A3-EEDD7FECCE7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CF0F0-9A46-4062-81BE-734DA728A2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A8B06C3-709A-41D4-A93E-3E00B524EF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65669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533400"/>
            <a:ext cx="2138363" cy="25463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6213" y="533400"/>
            <a:ext cx="6262687" cy="2546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D65014C7-584C-4D94-85A2-A23AD798263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4E569C-8323-49B4-9AE8-C6F68AE4E6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4CB1F8B-09C9-4839-BB94-C66F9B79323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873878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>
            <a:extLst>
              <a:ext uri="{FF2B5EF4-FFF2-40B4-BE49-F238E27FC236}">
                <a16:creationId xmlns:a16="http://schemas.microsoft.com/office/drawing/2014/main" id="{CB8D399D-BCD6-43CC-8CA8-93873D844E7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76213" y="760413"/>
            <a:ext cx="8618537" cy="5656262"/>
            <a:chOff x="111" y="479"/>
            <a:chExt cx="5429" cy="3563"/>
          </a:xfrm>
        </p:grpSpPr>
        <p:sp>
          <p:nvSpPr>
            <p:cNvPr id="5" name="McK Subtitle" hidden="1">
              <a:extLst>
                <a:ext uri="{FF2B5EF4-FFF2-40B4-BE49-F238E27FC236}">
                  <a16:creationId xmlns:a16="http://schemas.microsoft.com/office/drawing/2014/main" id="{DB352AF8-EEAE-4CCC-8C73-78A0D6077251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47"/>
              </p:custDataLst>
            </p:nvPr>
          </p:nvSpPr>
          <p:spPr bwMode="gray">
            <a:xfrm>
              <a:off x="111" y="479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b="1">
                  <a:solidFill>
                    <a:srgbClr val="676767"/>
                  </a:solidFill>
                </a:rPr>
                <a:t>SUBTITLE (IF THERE IS A MESSAGE TITLE ONLY)</a:t>
              </a:r>
            </a:p>
          </p:txBody>
        </p:sp>
        <p:sp>
          <p:nvSpPr>
            <p:cNvPr id="6" name="McK Footnote" hidden="1">
              <a:extLst>
                <a:ext uri="{FF2B5EF4-FFF2-40B4-BE49-F238E27FC236}">
                  <a16:creationId xmlns:a16="http://schemas.microsoft.com/office/drawing/2014/main" id="{2E38FECA-C51F-417F-A212-DADD3234FC71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48"/>
              </p:custDataLst>
            </p:nvPr>
          </p:nvSpPr>
          <p:spPr bwMode="gray">
            <a:xfrm>
              <a:off x="111" y="3875"/>
              <a:ext cx="5395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41325" indent="-441325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900">
                  <a:solidFill>
                    <a:srgbClr val="676767"/>
                  </a:solidFill>
                </a:rPr>
                <a:t>	*	Footnote</a:t>
              </a:r>
            </a:p>
            <a:p>
              <a:pPr eaLnBrk="1" hangingPunct="1">
                <a:lnSpc>
                  <a:spcPct val="90000"/>
                </a:lnSpc>
                <a:spcBef>
                  <a:spcPct val="15000"/>
                </a:spcBef>
                <a:defRPr/>
              </a:pPr>
              <a:r>
                <a:rPr lang="en-US" sz="900">
                  <a:solidFill>
                    <a:srgbClr val="676767"/>
                  </a:solidFill>
                </a:rPr>
                <a:t>	Source:	Source</a:t>
              </a:r>
            </a:p>
          </p:txBody>
        </p:sp>
      </p:grpSp>
      <p:sp>
        <p:nvSpPr>
          <p:cNvPr id="7" name="Working Draft" hidden="1">
            <a:extLst>
              <a:ext uri="{FF2B5EF4-FFF2-40B4-BE49-F238E27FC236}">
                <a16:creationId xmlns:a16="http://schemas.microsoft.com/office/drawing/2014/main" id="{7321DA93-923A-4EF7-BDC9-3A85005B7B5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7716044" y="2358231"/>
            <a:ext cx="22923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Working Draft - Last Modified 2/12/2007 10:15:31 AM</a:t>
            </a:r>
          </a:p>
        </p:txBody>
      </p:sp>
      <p:sp>
        <p:nvSpPr>
          <p:cNvPr id="8" name="Printed" hidden="1">
            <a:extLst>
              <a:ext uri="{FF2B5EF4-FFF2-40B4-BE49-F238E27FC236}">
                <a16:creationId xmlns:a16="http://schemas.microsoft.com/office/drawing/2014/main" id="{01F2242B-EB90-4E18-9BF9-9946839B05B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8181181" y="4361657"/>
            <a:ext cx="1362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Printed 11/30/2006 3:13:02 AM</a:t>
            </a:r>
          </a:p>
        </p:txBody>
      </p:sp>
      <p:grpSp>
        <p:nvGrpSpPr>
          <p:cNvPr id="9" name="McK Legend Moons" hidden="1">
            <a:extLst>
              <a:ext uri="{FF2B5EF4-FFF2-40B4-BE49-F238E27FC236}">
                <a16:creationId xmlns:a16="http://schemas.microsoft.com/office/drawing/2014/main" id="{C578EA37-804B-41D5-BBD6-0476BD6B53D7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8043863" y="819150"/>
            <a:ext cx="758825" cy="1071563"/>
            <a:chOff x="4883" y="516"/>
            <a:chExt cx="478" cy="675"/>
          </a:xfrm>
        </p:grpSpPr>
        <p:sp>
          <p:nvSpPr>
            <p:cNvPr id="10" name="Rectangle 260" hidden="1">
              <a:extLst>
                <a:ext uri="{FF2B5EF4-FFF2-40B4-BE49-F238E27FC236}">
                  <a16:creationId xmlns:a16="http://schemas.microsoft.com/office/drawing/2014/main" id="{47EF5BFC-A774-4F6E-B397-5D40ED238A7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11" name="Rectangle 261" hidden="1">
              <a:extLst>
                <a:ext uri="{FF2B5EF4-FFF2-40B4-BE49-F238E27FC236}">
                  <a16:creationId xmlns:a16="http://schemas.microsoft.com/office/drawing/2014/main" id="{5E687F9A-6520-4A12-890F-675FE10F87D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12" name="Rectangle 262" hidden="1">
              <a:extLst>
                <a:ext uri="{FF2B5EF4-FFF2-40B4-BE49-F238E27FC236}">
                  <a16:creationId xmlns:a16="http://schemas.microsoft.com/office/drawing/2014/main" id="{EB273D40-BE90-4F58-B41A-1025D691D67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13" name="Rectangle 263" hidden="1">
              <a:extLst>
                <a:ext uri="{FF2B5EF4-FFF2-40B4-BE49-F238E27FC236}">
                  <a16:creationId xmlns:a16="http://schemas.microsoft.com/office/drawing/2014/main" id="{D1944FDE-F8BF-4BFB-AE1A-269C00B4E3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14" name="Oval 194" hidden="1">
              <a:extLst>
                <a:ext uri="{FF2B5EF4-FFF2-40B4-BE49-F238E27FC236}">
                  <a16:creationId xmlns:a16="http://schemas.microsoft.com/office/drawing/2014/main" id="{ADC70376-F856-44A4-BFCB-1A25D0C64B46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36"/>
              </p:custDataLst>
            </p:nvPr>
          </p:nvSpPr>
          <p:spPr bwMode="gray">
            <a:xfrm>
              <a:off x="4883" y="522"/>
              <a:ext cx="102" cy="102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grpSp>
          <p:nvGrpSpPr>
            <p:cNvPr id="15" name="Group 196" hidden="1">
              <a:extLst>
                <a:ext uri="{FF2B5EF4-FFF2-40B4-BE49-F238E27FC236}">
                  <a16:creationId xmlns:a16="http://schemas.microsoft.com/office/drawing/2014/main" id="{798E8725-B2D8-49A7-ABA6-0503A74C088C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7"/>
              </p:custDataLst>
            </p:nvPr>
          </p:nvGrpSpPr>
          <p:grpSpPr bwMode="auto">
            <a:xfrm>
              <a:off x="4883" y="662"/>
              <a:ext cx="102" cy="102"/>
              <a:chOff x="1694" y="2044"/>
              <a:chExt cx="160" cy="160"/>
            </a:xfrm>
          </p:grpSpPr>
          <p:sp>
            <p:nvSpPr>
              <p:cNvPr id="24" name="Oval 197" hidden="1">
                <a:extLst>
                  <a:ext uri="{FF2B5EF4-FFF2-40B4-BE49-F238E27FC236}">
                    <a16:creationId xmlns:a16="http://schemas.microsoft.com/office/drawing/2014/main" id="{7266A792-B5D4-45B5-9019-142DA857987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GB"/>
              </a:p>
            </p:txBody>
          </p:sp>
          <p:sp>
            <p:nvSpPr>
              <p:cNvPr id="25" name="Arc 198" hidden="1">
                <a:extLst>
                  <a:ext uri="{FF2B5EF4-FFF2-40B4-BE49-F238E27FC236}">
                    <a16:creationId xmlns:a16="http://schemas.microsoft.com/office/drawing/2014/main" id="{8FE9B5BE-5C52-4093-89B6-48D9C8091929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6" name="Group 200" hidden="1">
              <a:extLst>
                <a:ext uri="{FF2B5EF4-FFF2-40B4-BE49-F238E27FC236}">
                  <a16:creationId xmlns:a16="http://schemas.microsoft.com/office/drawing/2014/main" id="{971E7310-9A2B-4F99-A785-55291C492BB5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8"/>
              </p:custDataLst>
            </p:nvPr>
          </p:nvGrpSpPr>
          <p:grpSpPr bwMode="auto">
            <a:xfrm>
              <a:off x="4883" y="802"/>
              <a:ext cx="102" cy="102"/>
              <a:chOff x="1521" y="1401"/>
              <a:chExt cx="102" cy="102"/>
            </a:xfrm>
          </p:grpSpPr>
          <p:sp>
            <p:nvSpPr>
              <p:cNvPr id="22" name="Oval 201" hidden="1">
                <a:extLst>
                  <a:ext uri="{FF2B5EF4-FFF2-40B4-BE49-F238E27FC236}">
                    <a16:creationId xmlns:a16="http://schemas.microsoft.com/office/drawing/2014/main" id="{50DC8616-F3AC-43A0-9E82-5B928A6EE3A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521" y="1401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GB"/>
              </a:p>
            </p:txBody>
          </p:sp>
          <p:sp>
            <p:nvSpPr>
              <p:cNvPr id="23" name="Arc 202" hidden="1">
                <a:extLst>
                  <a:ext uri="{FF2B5EF4-FFF2-40B4-BE49-F238E27FC236}">
                    <a16:creationId xmlns:a16="http://schemas.microsoft.com/office/drawing/2014/main" id="{C4C46112-CCBD-4459-B094-4F0B07816ED8}"/>
                  </a:ext>
                </a:extLst>
              </p:cNvPr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572" y="1401"/>
                <a:ext cx="51" cy="10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17" name="Group 204" hidden="1">
              <a:extLst>
                <a:ext uri="{FF2B5EF4-FFF2-40B4-BE49-F238E27FC236}">
                  <a16:creationId xmlns:a16="http://schemas.microsoft.com/office/drawing/2014/main" id="{0EEC4479-B7AB-4F28-B134-657E6B71FB2D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9"/>
              </p:custDataLst>
            </p:nvPr>
          </p:nvGrpSpPr>
          <p:grpSpPr bwMode="auto">
            <a:xfrm>
              <a:off x="4883" y="942"/>
              <a:ext cx="102" cy="102"/>
              <a:chOff x="1521" y="1539"/>
              <a:chExt cx="102" cy="102"/>
            </a:xfrm>
          </p:grpSpPr>
          <p:sp>
            <p:nvSpPr>
              <p:cNvPr id="20" name="Oval 205" hidden="1">
                <a:extLst>
                  <a:ext uri="{FF2B5EF4-FFF2-40B4-BE49-F238E27FC236}">
                    <a16:creationId xmlns:a16="http://schemas.microsoft.com/office/drawing/2014/main" id="{7258B9C7-79BD-42EA-9431-3162B0605B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521" y="1539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GB"/>
              </a:p>
            </p:txBody>
          </p:sp>
          <p:sp>
            <p:nvSpPr>
              <p:cNvPr id="21" name="Arc 206" hidden="1">
                <a:extLst>
                  <a:ext uri="{FF2B5EF4-FFF2-40B4-BE49-F238E27FC236}">
                    <a16:creationId xmlns:a16="http://schemas.microsoft.com/office/drawing/2014/main" id="{D1865BEE-31BA-4C4C-8BB8-1BDE5FC81664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521" y="1539"/>
                <a:ext cx="102" cy="10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8" name="Oval 208" hidden="1">
              <a:extLst>
                <a:ext uri="{FF2B5EF4-FFF2-40B4-BE49-F238E27FC236}">
                  <a16:creationId xmlns:a16="http://schemas.microsoft.com/office/drawing/2014/main" id="{0F11C7A7-C388-4397-963A-61DDE006152E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40"/>
              </p:custDataLst>
            </p:nvPr>
          </p:nvSpPr>
          <p:spPr bwMode="gray">
            <a:xfrm>
              <a:off x="4883" y="1082"/>
              <a:ext cx="102" cy="102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19" name="Rectangle 264" hidden="1">
              <a:extLst>
                <a:ext uri="{FF2B5EF4-FFF2-40B4-BE49-F238E27FC236}">
                  <a16:creationId xmlns:a16="http://schemas.microsoft.com/office/drawing/2014/main" id="{1A3F5BC9-FF64-48FD-B62F-73A43F55F07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107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26" name="McK Legend Boxes" hidden="1">
            <a:extLst>
              <a:ext uri="{FF2B5EF4-FFF2-40B4-BE49-F238E27FC236}">
                <a16:creationId xmlns:a16="http://schemas.microsoft.com/office/drawing/2014/main" id="{4D07FA01-B324-404E-B601-03CB06AC1F6A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016875" y="819150"/>
            <a:ext cx="785813" cy="849313"/>
            <a:chOff x="4866" y="516"/>
            <a:chExt cx="495" cy="535"/>
          </a:xfrm>
        </p:grpSpPr>
        <p:sp>
          <p:nvSpPr>
            <p:cNvPr id="27" name="Rectangle 179" hidden="1">
              <a:extLst>
                <a:ext uri="{FF2B5EF4-FFF2-40B4-BE49-F238E27FC236}">
                  <a16:creationId xmlns:a16="http://schemas.microsoft.com/office/drawing/2014/main" id="{8188A1C3-0B96-46D5-848C-16064117611C}"/>
                </a:ext>
              </a:extLst>
            </p:cNvPr>
            <p:cNvSpPr>
              <a:spLocks noChangeArrowheads="1"/>
            </p:cNvSpPr>
            <p:nvPr userDrawn="1">
              <p:custDataLst>
                <p:tags r:id="rId32"/>
              </p:custDataLst>
            </p:nvPr>
          </p:nvSpPr>
          <p:spPr bwMode="gray">
            <a:xfrm>
              <a:off x="4866" y="522"/>
              <a:ext cx="136" cy="10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28" name="Rectangle 181" hidden="1">
              <a:extLst>
                <a:ext uri="{FF2B5EF4-FFF2-40B4-BE49-F238E27FC236}">
                  <a16:creationId xmlns:a16="http://schemas.microsoft.com/office/drawing/2014/main" id="{94D12E96-B448-4C70-BA20-89E6D9C03B78}"/>
                </a:ext>
              </a:extLst>
            </p:cNvPr>
            <p:cNvSpPr>
              <a:spLocks noChangeArrowheads="1"/>
            </p:cNvSpPr>
            <p:nvPr userDrawn="1">
              <p:custDataLst>
                <p:tags r:id="rId33"/>
              </p:custDataLst>
            </p:nvPr>
          </p:nvSpPr>
          <p:spPr bwMode="gray">
            <a:xfrm>
              <a:off x="4866" y="662"/>
              <a:ext cx="136" cy="10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29" name="Rectangle 183" hidden="1">
              <a:extLst>
                <a:ext uri="{FF2B5EF4-FFF2-40B4-BE49-F238E27FC236}">
                  <a16:creationId xmlns:a16="http://schemas.microsoft.com/office/drawing/2014/main" id="{D3C9A550-0544-45EB-A7F1-13C2584BAF7D}"/>
                </a:ext>
              </a:extLst>
            </p:cNvPr>
            <p:cNvSpPr>
              <a:spLocks noChangeArrowheads="1"/>
            </p:cNvSpPr>
            <p:nvPr userDrawn="1">
              <p:custDataLst>
                <p:tags r:id="rId34"/>
              </p:custDataLst>
            </p:nvPr>
          </p:nvSpPr>
          <p:spPr bwMode="gray">
            <a:xfrm>
              <a:off x="4866" y="802"/>
              <a:ext cx="136" cy="102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30" name="Rectangle 185" hidden="1">
              <a:extLst>
                <a:ext uri="{FF2B5EF4-FFF2-40B4-BE49-F238E27FC236}">
                  <a16:creationId xmlns:a16="http://schemas.microsoft.com/office/drawing/2014/main" id="{0481E4F2-35C2-4867-8493-EFB6A85C9F0F}"/>
                </a:ext>
              </a:extLst>
            </p:cNvPr>
            <p:cNvSpPr>
              <a:spLocks noChangeArrowheads="1"/>
            </p:cNvSpPr>
            <p:nvPr userDrawn="1">
              <p:custDataLst>
                <p:tags r:id="rId35"/>
              </p:custDataLst>
            </p:nvPr>
          </p:nvSpPr>
          <p:spPr bwMode="gray">
            <a:xfrm>
              <a:off x="4866" y="942"/>
              <a:ext cx="136" cy="102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31" name="Rectangle 273" hidden="1">
              <a:extLst>
                <a:ext uri="{FF2B5EF4-FFF2-40B4-BE49-F238E27FC236}">
                  <a16:creationId xmlns:a16="http://schemas.microsoft.com/office/drawing/2014/main" id="{13302041-C7C2-424A-994E-8A2D80238B3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2" name="Rectangle 274" hidden="1">
              <a:extLst>
                <a:ext uri="{FF2B5EF4-FFF2-40B4-BE49-F238E27FC236}">
                  <a16:creationId xmlns:a16="http://schemas.microsoft.com/office/drawing/2014/main" id="{DE498527-B10C-433E-AC19-7688600B1DC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3" name="Rectangle 275" hidden="1">
              <a:extLst>
                <a:ext uri="{FF2B5EF4-FFF2-40B4-BE49-F238E27FC236}">
                  <a16:creationId xmlns:a16="http://schemas.microsoft.com/office/drawing/2014/main" id="{1E3A5E7F-351E-4B75-AC5F-F6C57180E95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4" name="Rectangle 276" hidden="1">
              <a:extLst>
                <a:ext uri="{FF2B5EF4-FFF2-40B4-BE49-F238E27FC236}">
                  <a16:creationId xmlns:a16="http://schemas.microsoft.com/office/drawing/2014/main" id="{F5D68498-12CC-4A3C-9807-12BE38B7FD3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5" name="McK Legend Lines" hidden="1">
            <a:extLst>
              <a:ext uri="{FF2B5EF4-FFF2-40B4-BE49-F238E27FC236}">
                <a16:creationId xmlns:a16="http://schemas.microsoft.com/office/drawing/2014/main" id="{D3C93CF7-A1DE-4524-9C15-967CF4442AC2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762875" y="819150"/>
            <a:ext cx="1039813" cy="627063"/>
            <a:chOff x="4706" y="516"/>
            <a:chExt cx="655" cy="395"/>
          </a:xfrm>
        </p:grpSpPr>
        <p:sp>
          <p:nvSpPr>
            <p:cNvPr id="36" name="Line 190" hidden="1">
              <a:extLst>
                <a:ext uri="{FF2B5EF4-FFF2-40B4-BE49-F238E27FC236}">
                  <a16:creationId xmlns:a16="http://schemas.microsoft.com/office/drawing/2014/main" id="{A6C81D3D-D57C-4AC8-8769-187C2B3B6A4C}"/>
                </a:ext>
              </a:extLst>
            </p:cNvPr>
            <p:cNvSpPr>
              <a:spLocks noChangeShapeType="1"/>
            </p:cNvSpPr>
            <p:nvPr userDrawn="1">
              <p:custDataLst>
                <p:tags r:id="rId29"/>
              </p:custDataLst>
            </p:nvPr>
          </p:nvSpPr>
          <p:spPr bwMode="gray">
            <a:xfrm flipH="1">
              <a:off x="4706" y="573"/>
              <a:ext cx="296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Line 191" hidden="1">
              <a:extLst>
                <a:ext uri="{FF2B5EF4-FFF2-40B4-BE49-F238E27FC236}">
                  <a16:creationId xmlns:a16="http://schemas.microsoft.com/office/drawing/2014/main" id="{02837C8E-9877-4E2B-9B45-2CA3D8617256}"/>
                </a:ext>
              </a:extLst>
            </p:cNvPr>
            <p:cNvSpPr>
              <a:spLocks noChangeShapeType="1"/>
            </p:cNvSpPr>
            <p:nvPr userDrawn="1">
              <p:custDataLst>
                <p:tags r:id="rId30"/>
              </p:custDataLst>
            </p:nvPr>
          </p:nvSpPr>
          <p:spPr bwMode="gray">
            <a:xfrm flipH="1">
              <a:off x="4706" y="713"/>
              <a:ext cx="296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Line 192" hidden="1">
              <a:extLst>
                <a:ext uri="{FF2B5EF4-FFF2-40B4-BE49-F238E27FC236}">
                  <a16:creationId xmlns:a16="http://schemas.microsoft.com/office/drawing/2014/main" id="{668855F1-8408-465A-AAD2-283146D0D57E}"/>
                </a:ext>
              </a:extLst>
            </p:cNvPr>
            <p:cNvSpPr>
              <a:spLocks noChangeShapeType="1"/>
            </p:cNvSpPr>
            <p:nvPr userDrawn="1">
              <p:custDataLst>
                <p:tags r:id="rId31"/>
              </p:custDataLst>
            </p:nvPr>
          </p:nvSpPr>
          <p:spPr bwMode="gray">
            <a:xfrm flipH="1">
              <a:off x="4706" y="853"/>
              <a:ext cx="296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Rectangle 278" hidden="1">
              <a:extLst>
                <a:ext uri="{FF2B5EF4-FFF2-40B4-BE49-F238E27FC236}">
                  <a16:creationId xmlns:a16="http://schemas.microsoft.com/office/drawing/2014/main" id="{7E5D1258-45E1-4AA7-AC4D-E9BB3A5E629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40" name="Rectangle 279" hidden="1">
              <a:extLst>
                <a:ext uri="{FF2B5EF4-FFF2-40B4-BE49-F238E27FC236}">
                  <a16:creationId xmlns:a16="http://schemas.microsoft.com/office/drawing/2014/main" id="{A3DE75D2-9AA3-430D-A5B1-CA29509005A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41" name="Rectangle 280" hidden="1">
              <a:extLst>
                <a:ext uri="{FF2B5EF4-FFF2-40B4-BE49-F238E27FC236}">
                  <a16:creationId xmlns:a16="http://schemas.microsoft.com/office/drawing/2014/main" id="{E9E063C6-0EB5-49CA-BC44-FAF23CD0FD6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42" name="McK Alternative Sticker" hidden="1">
            <a:extLst>
              <a:ext uri="{FF2B5EF4-FFF2-40B4-BE49-F238E27FC236}">
                <a16:creationId xmlns:a16="http://schemas.microsoft.com/office/drawing/2014/main" id="{DF4D18B8-75D3-4034-8FFA-D9749D69D9F8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8126413" y="793750"/>
            <a:ext cx="668337" cy="200025"/>
            <a:chOff x="2144" y="2357"/>
            <a:chExt cx="421" cy="126"/>
          </a:xfrm>
        </p:grpSpPr>
        <p:sp>
          <p:nvSpPr>
            <p:cNvPr id="43" name="AutoShape 283" hidden="1">
              <a:extLst>
                <a:ext uri="{FF2B5EF4-FFF2-40B4-BE49-F238E27FC236}">
                  <a16:creationId xmlns:a16="http://schemas.microsoft.com/office/drawing/2014/main" id="{24D2B307-B4E0-4CC6-85E4-D2D684E3435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44" name="AutoShape 284" hidden="1">
              <a:extLst>
                <a:ext uri="{FF2B5EF4-FFF2-40B4-BE49-F238E27FC236}">
                  <a16:creationId xmlns:a16="http://schemas.microsoft.com/office/drawing/2014/main" id="{182F3BF0-76BF-484C-870C-DFC59D9AF924}"/>
                </a:ext>
              </a:extLst>
            </p:cNvPr>
            <p:cNvCxnSpPr>
              <a:cxnSpLocks noChangeShapeType="1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285" hidden="1">
              <a:extLst>
                <a:ext uri="{FF2B5EF4-FFF2-40B4-BE49-F238E27FC236}">
                  <a16:creationId xmlns:a16="http://schemas.microsoft.com/office/drawing/2014/main" id="{D3ADD0BD-E2DB-489E-95AF-6E1BA9B40977}"/>
                </a:ext>
              </a:extLst>
            </p:cNvPr>
            <p:cNvCxnSpPr>
              <a:cxnSpLocks noChangeShapeType="1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McK Default Sticker" hidden="1">
            <a:extLst>
              <a:ext uri="{FF2B5EF4-FFF2-40B4-BE49-F238E27FC236}">
                <a16:creationId xmlns:a16="http://schemas.microsoft.com/office/drawing/2014/main" id="{34A06A00-4536-455F-BBAD-2F35D98DC9CA}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126413" y="512763"/>
            <a:ext cx="668337" cy="200025"/>
            <a:chOff x="2144" y="2357"/>
            <a:chExt cx="421" cy="126"/>
          </a:xfrm>
        </p:grpSpPr>
        <p:sp>
          <p:nvSpPr>
            <p:cNvPr id="47" name="AutoShape 288" hidden="1">
              <a:extLst>
                <a:ext uri="{FF2B5EF4-FFF2-40B4-BE49-F238E27FC236}">
                  <a16:creationId xmlns:a16="http://schemas.microsoft.com/office/drawing/2014/main" id="{96BB3C38-B2D7-4680-B1C6-F017730CEB8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48" name="AutoShape 289" hidden="1">
              <a:extLst>
                <a:ext uri="{FF2B5EF4-FFF2-40B4-BE49-F238E27FC236}">
                  <a16:creationId xmlns:a16="http://schemas.microsoft.com/office/drawing/2014/main" id="{CD89CAD7-2330-4A5D-9D97-2022E42FFCD6}"/>
                </a:ext>
              </a:extLst>
            </p:cNvPr>
            <p:cNvCxnSpPr>
              <a:cxnSpLocks noChangeShapeType="1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9" name="AutoShape 290" hidden="1">
              <a:extLst>
                <a:ext uri="{FF2B5EF4-FFF2-40B4-BE49-F238E27FC236}">
                  <a16:creationId xmlns:a16="http://schemas.microsoft.com/office/drawing/2014/main" id="{464E795C-2A2C-4BA2-9AC0-169BC050D0F2}"/>
                </a:ext>
              </a:extLst>
            </p:cNvPr>
            <p:cNvCxnSpPr>
              <a:cxnSpLocks noChangeShapeType="1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0" name="Group 370">
            <a:extLst>
              <a:ext uri="{FF2B5EF4-FFF2-40B4-BE49-F238E27FC236}">
                <a16:creationId xmlns:a16="http://schemas.microsoft.com/office/drawing/2014/main" id="{6CC603AA-FFF1-4FBF-A0D6-BD8CE7EA472A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51" name="Rectangle 46">
              <a:extLst>
                <a:ext uri="{FF2B5EF4-FFF2-40B4-BE49-F238E27FC236}">
                  <a16:creationId xmlns:a16="http://schemas.microsoft.com/office/drawing/2014/main" id="{995106DA-92EE-4B02-9392-09A31D4B76EE}"/>
                </a:ext>
              </a:extLst>
            </p:cNvPr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52" name="Rectangle 49">
              <a:extLst>
                <a:ext uri="{FF2B5EF4-FFF2-40B4-BE49-F238E27FC236}">
                  <a16:creationId xmlns:a16="http://schemas.microsoft.com/office/drawing/2014/main" id="{BE087DDC-4EB3-40EA-8768-A88C9434F64E}"/>
                </a:ext>
              </a:extLst>
            </p:cNvPr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53" name="Rectangle 48">
              <a:extLst>
                <a:ext uri="{FF2B5EF4-FFF2-40B4-BE49-F238E27FC236}">
                  <a16:creationId xmlns:a16="http://schemas.microsoft.com/office/drawing/2014/main" id="{8DDD7F76-7486-4460-B873-3C2D19424BBA}"/>
                </a:ext>
              </a:extLst>
            </p:cNvPr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/>
            </a:p>
          </p:txBody>
        </p:sp>
      </p:grpSp>
      <p:grpSp>
        <p:nvGrpSpPr>
          <p:cNvPr id="54" name="McK Working Grid A" hidden="1">
            <a:extLst>
              <a:ext uri="{FF2B5EF4-FFF2-40B4-BE49-F238E27FC236}">
                <a16:creationId xmlns:a16="http://schemas.microsoft.com/office/drawing/2014/main" id="{10EE5360-70F7-4ECA-A730-BF33191F6DD7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sp>
          <p:nvSpPr>
            <p:cNvPr id="55" name="Line 310" hidden="1">
              <a:extLst>
                <a:ext uri="{FF2B5EF4-FFF2-40B4-BE49-F238E27FC236}">
                  <a16:creationId xmlns:a16="http://schemas.microsoft.com/office/drawing/2014/main" id="{7EBFEEA1-F1BD-4A4D-834D-28CB1D0BFE9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56" name="Line 311" hidden="1">
              <a:extLst>
                <a:ext uri="{FF2B5EF4-FFF2-40B4-BE49-F238E27FC236}">
                  <a16:creationId xmlns:a16="http://schemas.microsoft.com/office/drawing/2014/main" id="{C5BC7AA4-880D-4D87-A028-137DF858B1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57" name="Line 312" hidden="1">
              <a:extLst>
                <a:ext uri="{FF2B5EF4-FFF2-40B4-BE49-F238E27FC236}">
                  <a16:creationId xmlns:a16="http://schemas.microsoft.com/office/drawing/2014/main" id="{5B0B9902-FB73-4CEC-AD6D-15A7A7A3B1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58" name="Line 313" hidden="1">
              <a:extLst>
                <a:ext uri="{FF2B5EF4-FFF2-40B4-BE49-F238E27FC236}">
                  <a16:creationId xmlns:a16="http://schemas.microsoft.com/office/drawing/2014/main" id="{26E0A7A2-D309-4ADD-BFC6-4D8226ED342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59" name="Line 314" hidden="1">
              <a:extLst>
                <a:ext uri="{FF2B5EF4-FFF2-40B4-BE49-F238E27FC236}">
                  <a16:creationId xmlns:a16="http://schemas.microsoft.com/office/drawing/2014/main" id="{7B8F1967-62CB-4D75-8AF4-A55051D942C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0" name="Line 315" hidden="1">
              <a:extLst>
                <a:ext uri="{FF2B5EF4-FFF2-40B4-BE49-F238E27FC236}">
                  <a16:creationId xmlns:a16="http://schemas.microsoft.com/office/drawing/2014/main" id="{67142E9A-05A2-430B-BC0F-C48F8E24815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1" name="Line 316" hidden="1">
              <a:extLst>
                <a:ext uri="{FF2B5EF4-FFF2-40B4-BE49-F238E27FC236}">
                  <a16:creationId xmlns:a16="http://schemas.microsoft.com/office/drawing/2014/main" id="{540E85E7-901D-4CF7-BCB8-35ED7E39D7A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2" name="Line 317" hidden="1">
              <a:extLst>
                <a:ext uri="{FF2B5EF4-FFF2-40B4-BE49-F238E27FC236}">
                  <a16:creationId xmlns:a16="http://schemas.microsoft.com/office/drawing/2014/main" id="{CD107C9B-34E4-4342-98A0-2846C6211F9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3" name="Line 318" hidden="1">
              <a:extLst>
                <a:ext uri="{FF2B5EF4-FFF2-40B4-BE49-F238E27FC236}">
                  <a16:creationId xmlns:a16="http://schemas.microsoft.com/office/drawing/2014/main" id="{D54B3B90-DE22-457D-9F61-7AB63ED01A4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26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4" name="Line 319" hidden="1">
              <a:extLst>
                <a:ext uri="{FF2B5EF4-FFF2-40B4-BE49-F238E27FC236}">
                  <a16:creationId xmlns:a16="http://schemas.microsoft.com/office/drawing/2014/main" id="{6CBD462D-3491-4D36-AA9F-55DA484C204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78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5" name="Line 320" hidden="1">
              <a:extLst>
                <a:ext uri="{FF2B5EF4-FFF2-40B4-BE49-F238E27FC236}">
                  <a16:creationId xmlns:a16="http://schemas.microsoft.com/office/drawing/2014/main" id="{B570B6E4-B113-402E-89B5-E571F42CDA8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72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6" name="Line 321" hidden="1">
              <a:extLst>
                <a:ext uri="{FF2B5EF4-FFF2-40B4-BE49-F238E27FC236}">
                  <a16:creationId xmlns:a16="http://schemas.microsoft.com/office/drawing/2014/main" id="{E4376A58-B177-4C96-BA92-1B476F237690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7" name="Line 322" hidden="1">
              <a:extLst>
                <a:ext uri="{FF2B5EF4-FFF2-40B4-BE49-F238E27FC236}">
                  <a16:creationId xmlns:a16="http://schemas.microsoft.com/office/drawing/2014/main" id="{1AAAB1BB-7E25-437D-9B2E-E40612745A0B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68" name="Line 323" hidden="1">
              <a:extLst>
                <a:ext uri="{FF2B5EF4-FFF2-40B4-BE49-F238E27FC236}">
                  <a16:creationId xmlns:a16="http://schemas.microsoft.com/office/drawing/2014/main" id="{3AE9181F-0F0E-4867-A02A-D4974B858323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69" name="McK Working Grid B" hidden="1">
            <a:extLst>
              <a:ext uri="{FF2B5EF4-FFF2-40B4-BE49-F238E27FC236}">
                <a16:creationId xmlns:a16="http://schemas.microsoft.com/office/drawing/2014/main" id="{7F952F58-922E-4670-BCD7-D5D5E7F7D6F3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grpSp>
          <p:nvGrpSpPr>
            <p:cNvPr id="70" name="Group 346" hidden="1">
              <a:extLst>
                <a:ext uri="{FF2B5EF4-FFF2-40B4-BE49-F238E27FC236}">
                  <a16:creationId xmlns:a16="http://schemas.microsoft.com/office/drawing/2014/main" id="{119BB7ED-B8DF-4127-BF15-09C0F1D88AAB}"/>
                </a:ext>
              </a:extLst>
            </p:cNvPr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3686" y="-100"/>
              <a:ext cx="91" cy="4419"/>
              <a:chOff x="2781" y="-100"/>
              <a:chExt cx="91" cy="4419"/>
            </a:xfrm>
          </p:grpSpPr>
          <p:sp>
            <p:nvSpPr>
              <p:cNvPr id="86" name="Line 347" hidden="1">
                <a:extLst>
                  <a:ext uri="{FF2B5EF4-FFF2-40B4-BE49-F238E27FC236}">
                    <a16:creationId xmlns:a16="http://schemas.microsoft.com/office/drawing/2014/main" id="{F530F506-3F6F-4489-9DC3-CFE0AC742283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7" name="Line 348" hidden="1">
                <a:extLst>
                  <a:ext uri="{FF2B5EF4-FFF2-40B4-BE49-F238E27FC236}">
                    <a16:creationId xmlns:a16="http://schemas.microsoft.com/office/drawing/2014/main" id="{1863DA7F-A06B-4065-91B8-509CEE14B0CF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8" name="Line 349" hidden="1">
                <a:extLst>
                  <a:ext uri="{FF2B5EF4-FFF2-40B4-BE49-F238E27FC236}">
                    <a16:creationId xmlns:a16="http://schemas.microsoft.com/office/drawing/2014/main" id="{819462FE-9EAF-4058-9BC3-448509B7C83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71" name="Line 350" hidden="1">
              <a:extLst>
                <a:ext uri="{FF2B5EF4-FFF2-40B4-BE49-F238E27FC236}">
                  <a16:creationId xmlns:a16="http://schemas.microsoft.com/office/drawing/2014/main" id="{9A37235F-8379-403B-A725-8C5E47767BF0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2" name="Line 351" hidden="1">
              <a:extLst>
                <a:ext uri="{FF2B5EF4-FFF2-40B4-BE49-F238E27FC236}">
                  <a16:creationId xmlns:a16="http://schemas.microsoft.com/office/drawing/2014/main" id="{A2902DDB-32A3-4367-95E1-676390EB3DAC}"/>
                </a:ext>
              </a:extLst>
            </p:cNvPr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3" name="Line 352" hidden="1">
              <a:extLst>
                <a:ext uri="{FF2B5EF4-FFF2-40B4-BE49-F238E27FC236}">
                  <a16:creationId xmlns:a16="http://schemas.microsoft.com/office/drawing/2014/main" id="{873CB5A5-BFB2-471B-AAEF-1753D4E80C94}"/>
                </a:ext>
              </a:extLst>
            </p:cNvPr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4" name="Line 353" hidden="1">
              <a:extLst>
                <a:ext uri="{FF2B5EF4-FFF2-40B4-BE49-F238E27FC236}">
                  <a16:creationId xmlns:a16="http://schemas.microsoft.com/office/drawing/2014/main" id="{1E74FDD6-9D0F-4212-A857-A28B9BE08897}"/>
                </a:ext>
              </a:extLst>
            </p:cNvPr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5" name="Line 354" hidden="1">
              <a:extLst>
                <a:ext uri="{FF2B5EF4-FFF2-40B4-BE49-F238E27FC236}">
                  <a16:creationId xmlns:a16="http://schemas.microsoft.com/office/drawing/2014/main" id="{F4C46340-EDB6-48C4-8F10-6D700A559434}"/>
                </a:ext>
              </a:extLst>
            </p:cNvPr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6" name="Line 355" hidden="1">
              <a:extLst>
                <a:ext uri="{FF2B5EF4-FFF2-40B4-BE49-F238E27FC236}">
                  <a16:creationId xmlns:a16="http://schemas.microsoft.com/office/drawing/2014/main" id="{57A1DB16-48AD-4CFB-B946-4062236C1A6F}"/>
                </a:ext>
              </a:extLst>
            </p:cNvPr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7" name="Line 356" hidden="1">
              <a:extLst>
                <a:ext uri="{FF2B5EF4-FFF2-40B4-BE49-F238E27FC236}">
                  <a16:creationId xmlns:a16="http://schemas.microsoft.com/office/drawing/2014/main" id="{7366FDB0-D9F8-4251-82A0-B2DA573095CE}"/>
                </a:ext>
              </a:extLst>
            </p:cNvPr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78" name="Line 357" hidden="1">
              <a:extLst>
                <a:ext uri="{FF2B5EF4-FFF2-40B4-BE49-F238E27FC236}">
                  <a16:creationId xmlns:a16="http://schemas.microsoft.com/office/drawing/2014/main" id="{61193ED3-B742-4388-A6D0-16489A6D2AFE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79" name="Group 358" hidden="1">
              <a:extLst>
                <a:ext uri="{FF2B5EF4-FFF2-40B4-BE49-F238E27FC236}">
                  <a16:creationId xmlns:a16="http://schemas.microsoft.com/office/drawing/2014/main" id="{46CB41EF-9FFA-4EC5-9FF8-05A27AC383CE}"/>
                </a:ext>
              </a:extLst>
            </p:cNvPr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1875" y="-100"/>
              <a:ext cx="91" cy="4419"/>
              <a:chOff x="2781" y="-100"/>
              <a:chExt cx="91" cy="4419"/>
            </a:xfrm>
          </p:grpSpPr>
          <p:sp>
            <p:nvSpPr>
              <p:cNvPr id="83" name="Line 359" hidden="1">
                <a:extLst>
                  <a:ext uri="{FF2B5EF4-FFF2-40B4-BE49-F238E27FC236}">
                    <a16:creationId xmlns:a16="http://schemas.microsoft.com/office/drawing/2014/main" id="{FD2C785A-0331-4145-A588-6CCD73145EFF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4" name="Line 360" hidden="1">
                <a:extLst>
                  <a:ext uri="{FF2B5EF4-FFF2-40B4-BE49-F238E27FC236}">
                    <a16:creationId xmlns:a16="http://schemas.microsoft.com/office/drawing/2014/main" id="{CBE1C891-12A9-4F7D-961C-7E99CB624DDC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85" name="Line 361" hidden="1">
                <a:extLst>
                  <a:ext uri="{FF2B5EF4-FFF2-40B4-BE49-F238E27FC236}">
                    <a16:creationId xmlns:a16="http://schemas.microsoft.com/office/drawing/2014/main" id="{34C5E9BC-B03D-4EAC-BBB8-EFB6B38D8CB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80" name="Line 362" hidden="1">
              <a:extLst>
                <a:ext uri="{FF2B5EF4-FFF2-40B4-BE49-F238E27FC236}">
                  <a16:creationId xmlns:a16="http://schemas.microsoft.com/office/drawing/2014/main" id="{7F5E8CCB-2350-4461-9F12-CDDFB8161A5B}"/>
                </a:ext>
              </a:extLst>
            </p:cNvPr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1" name="Line 363" hidden="1">
              <a:extLst>
                <a:ext uri="{FF2B5EF4-FFF2-40B4-BE49-F238E27FC236}">
                  <a16:creationId xmlns:a16="http://schemas.microsoft.com/office/drawing/2014/main" id="{0646A76F-47A1-4797-B9BA-F020A382ACA3}"/>
                </a:ext>
              </a:extLst>
            </p:cNvPr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2" name="Line 364" hidden="1">
              <a:extLst>
                <a:ext uri="{FF2B5EF4-FFF2-40B4-BE49-F238E27FC236}">
                  <a16:creationId xmlns:a16="http://schemas.microsoft.com/office/drawing/2014/main" id="{C32A53E8-8F67-467B-A2B8-B1D71D831DC6}"/>
                </a:ext>
              </a:extLst>
            </p:cNvPr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aphicFrame>
        <p:nvGraphicFramePr>
          <p:cNvPr id="89" name="Rectangle 47" hidden="1">
            <a:extLst>
              <a:ext uri="{FF2B5EF4-FFF2-40B4-BE49-F238E27FC236}">
                <a16:creationId xmlns:a16="http://schemas.microsoft.com/office/drawing/2014/main" id="{5B813DF4-AAC1-44F9-A57A-4C869D94F5B2}"/>
              </a:ext>
            </a:extLst>
          </p:cNvPr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6" r:id="rId50" imgW="0" imgH="0" progId="TCLayout.ActiveDocument">
                  <p:embed/>
                </p:oleObj>
              </mc:Choice>
              <mc:Fallback>
                <p:oleObj r:id="rId50" imgW="0" imgH="0" progId="TCLayout.ActiveDocument">
                  <p:embed/>
                  <p:pic>
                    <p:nvPicPr>
                      <p:cNvPr id="89" name="Rectangle 47" hidden="1">
                        <a:extLst>
                          <a:ext uri="{FF2B5EF4-FFF2-40B4-BE49-F238E27FC236}">
                            <a16:creationId xmlns:a16="http://schemas.microsoft.com/office/drawing/2014/main" id="{5B813DF4-AAC1-44F9-A57A-4C869D94F5B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213" y="533400"/>
            <a:ext cx="7091362" cy="2603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176213" y="1273175"/>
            <a:ext cx="8553450" cy="18065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90" name="pg num">
            <a:extLst>
              <a:ext uri="{FF2B5EF4-FFF2-40B4-BE49-F238E27FC236}">
                <a16:creationId xmlns:a16="http://schemas.microsoft.com/office/drawing/2014/main" id="{BD07822F-1020-438A-B401-6341303AA567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B133C8-5A83-477D-A4E6-4F4CE7076B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1" name="doc id">
            <a:extLst>
              <a:ext uri="{FF2B5EF4-FFF2-40B4-BE49-F238E27FC236}">
                <a16:creationId xmlns:a16="http://schemas.microsoft.com/office/drawing/2014/main" id="{C91F35DC-E35E-4A37-8E0E-63FA5B890D5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671116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8E618537-00C2-4DEF-A4A9-F089C88093AD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7D925-EE67-4A8E-9848-343A56DB1E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1E48291-1222-48D3-B279-C76FB5F930C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547473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7A304A66-2841-482A-9965-F4E44AB01D85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1DD12-B8B5-4DB9-ABF9-A392CE1906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AEF74B88-0E3F-499D-8DBA-0C2BA1953F1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94917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6213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9138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13B5070-F7CE-4B92-999C-00B01BEEC52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A8666-8BF5-48D7-9D12-22E8C27511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5EA106BC-DFC7-42F2-994B-F83359B8CD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74449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g num">
            <a:extLst>
              <a:ext uri="{FF2B5EF4-FFF2-40B4-BE49-F238E27FC236}">
                <a16:creationId xmlns:a16="http://schemas.microsoft.com/office/drawing/2014/main" id="{7887679F-9290-4D1A-AEC1-879CEFCE86B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615A5-E858-44BC-ADFE-80D0AB3A1E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>
            <a:extLst>
              <a:ext uri="{FF2B5EF4-FFF2-40B4-BE49-F238E27FC236}">
                <a16:creationId xmlns:a16="http://schemas.microsoft.com/office/drawing/2014/main" id="{E2EA25E6-B15D-40DB-9A5C-50CFA5E60D0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12490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g num">
            <a:extLst>
              <a:ext uri="{FF2B5EF4-FFF2-40B4-BE49-F238E27FC236}">
                <a16:creationId xmlns:a16="http://schemas.microsoft.com/office/drawing/2014/main" id="{64ACD1C2-6664-4AD6-B60B-19F82B39C518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B06006-B437-40E0-B5DE-1D0E353C38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F412F2DA-AD98-4FAD-9CB1-FC903E9D9DD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98912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>
            <a:extLst>
              <a:ext uri="{FF2B5EF4-FFF2-40B4-BE49-F238E27FC236}">
                <a16:creationId xmlns:a16="http://schemas.microsoft.com/office/drawing/2014/main" id="{CF7417AE-F2AB-48C7-8728-0EE6E38485C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71000D-3C65-48C2-B287-2EE6522E9C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D462051B-4B37-4CCC-87EF-F87A9A312D4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31890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AE9D82F8-F4D9-437C-B431-21B699E082F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EACC2F-73A2-41EE-8F8D-BD76D873D1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2CDF6ECD-CE75-46A1-B927-47BB900E19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830399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503DCEE-D056-4DF7-8C08-996AEC2717CC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55D88B-5B20-44E0-A370-1A4D5C4419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AEA3E46E-CE0B-4747-A824-FDDFDE9BC32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07891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63" Type="http://schemas.openxmlformats.org/officeDocument/2006/relationships/tags" Target="../tags/tag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62" Type="http://schemas.openxmlformats.org/officeDocument/2006/relationships/tags" Target="../tags/tag4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tags" Target="../tags/tag4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tags" Target="../tags/tag44.xml"/><Relationship Id="rId61" Type="http://schemas.openxmlformats.org/officeDocument/2006/relationships/tags" Target="../tags/tag4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60" Type="http://schemas.openxmlformats.org/officeDocument/2006/relationships/tags" Target="../tags/tag4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59" Type="http://schemas.openxmlformats.org/officeDocument/2006/relationships/tags" Target="../tags/tag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>
            <a:extLst>
              <a:ext uri="{FF2B5EF4-FFF2-40B4-BE49-F238E27FC236}">
                <a16:creationId xmlns:a16="http://schemas.microsoft.com/office/drawing/2014/main" id="{6FA0BC4B-CF35-4AAF-BECB-71B9F25F77D5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gray">
          <a:xfrm>
            <a:off x="176213" y="1273175"/>
            <a:ext cx="8553450" cy="180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75" name="Rectangle 2">
            <a:extLst>
              <a:ext uri="{FF2B5EF4-FFF2-40B4-BE49-F238E27FC236}">
                <a16:creationId xmlns:a16="http://schemas.microsoft.com/office/drawing/2014/main" id="{CFD2DD03-5117-4DB3-B9BE-A1841DA6384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76213" y="533400"/>
            <a:ext cx="70913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grpSp>
        <p:nvGrpSpPr>
          <p:cNvPr id="3076" name="McK Slide Elements">
            <a:extLst>
              <a:ext uri="{FF2B5EF4-FFF2-40B4-BE49-F238E27FC236}">
                <a16:creationId xmlns:a16="http://schemas.microsoft.com/office/drawing/2014/main" id="{DF530769-5ABB-44C1-BA61-39F27FAAE5FA}"/>
              </a:ext>
            </a:extLst>
          </p:cNvPr>
          <p:cNvGrpSpPr>
            <a:grpSpLocks/>
          </p:cNvGrpSpPr>
          <p:nvPr/>
        </p:nvGrpSpPr>
        <p:grpSpPr bwMode="auto">
          <a:xfrm>
            <a:off x="176213" y="760413"/>
            <a:ext cx="8618537" cy="5656262"/>
            <a:chOff x="111" y="479"/>
            <a:chExt cx="5429" cy="3563"/>
          </a:xfrm>
        </p:grpSpPr>
        <p:sp>
          <p:nvSpPr>
            <p:cNvPr id="3162" name="McK Subtitle" hidden="1">
              <a:extLst>
                <a:ext uri="{FF2B5EF4-FFF2-40B4-BE49-F238E27FC236}">
                  <a16:creationId xmlns:a16="http://schemas.microsoft.com/office/drawing/2014/main" id="{6F3D23A8-18DD-4325-BAF0-8C9F527A06BE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2"/>
              </p:custDataLst>
            </p:nvPr>
          </p:nvSpPr>
          <p:spPr bwMode="gray">
            <a:xfrm>
              <a:off x="111" y="479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b="1">
                  <a:solidFill>
                    <a:srgbClr val="676767"/>
                  </a:solidFill>
                </a:rPr>
                <a:t>SUBTITLE (IF THERE IS A MESSAGE TITLE ONLY)</a:t>
              </a:r>
            </a:p>
          </p:txBody>
        </p:sp>
        <p:sp>
          <p:nvSpPr>
            <p:cNvPr id="3163" name="McK Footnote" hidden="1">
              <a:extLst>
                <a:ext uri="{FF2B5EF4-FFF2-40B4-BE49-F238E27FC236}">
                  <a16:creationId xmlns:a16="http://schemas.microsoft.com/office/drawing/2014/main" id="{E62532D0-6525-4B60-9A7E-535423D4C664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3"/>
              </p:custDataLst>
            </p:nvPr>
          </p:nvSpPr>
          <p:spPr bwMode="gray">
            <a:xfrm>
              <a:off x="111" y="3875"/>
              <a:ext cx="5395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41325" indent="-441325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900">
                  <a:solidFill>
                    <a:srgbClr val="676767"/>
                  </a:solidFill>
                </a:rPr>
                <a:t>	*	Footnote</a:t>
              </a:r>
            </a:p>
            <a:p>
              <a:pPr eaLnBrk="1" hangingPunct="1">
                <a:lnSpc>
                  <a:spcPct val="90000"/>
                </a:lnSpc>
                <a:spcBef>
                  <a:spcPct val="15000"/>
                </a:spcBef>
                <a:defRPr/>
              </a:pPr>
              <a:r>
                <a:rPr lang="en-US" sz="900">
                  <a:solidFill>
                    <a:srgbClr val="676767"/>
                  </a:solidFill>
                </a:rPr>
                <a:t>	Source:	Source</a:t>
              </a:r>
            </a:p>
          </p:txBody>
        </p:sp>
      </p:grpSp>
      <p:sp>
        <p:nvSpPr>
          <p:cNvPr id="3077" name="Working Draft" hidden="1">
            <a:extLst>
              <a:ext uri="{FF2B5EF4-FFF2-40B4-BE49-F238E27FC236}">
                <a16:creationId xmlns:a16="http://schemas.microsoft.com/office/drawing/2014/main" id="{3BBF7626-68CB-4733-BD91-5D125006D653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5400000">
            <a:off x="7716044" y="2358231"/>
            <a:ext cx="22923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Working Draft - Last Modified 2/12/2007 10:15:31 AM</a:t>
            </a:r>
          </a:p>
        </p:txBody>
      </p:sp>
      <p:sp>
        <p:nvSpPr>
          <p:cNvPr id="3078" name="Printed" hidden="1">
            <a:extLst>
              <a:ext uri="{FF2B5EF4-FFF2-40B4-BE49-F238E27FC236}">
                <a16:creationId xmlns:a16="http://schemas.microsoft.com/office/drawing/2014/main" id="{7BAF47D5-02D6-4B56-A753-D334FFC4CB4B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 rot="5400000">
            <a:off x="8181181" y="4361657"/>
            <a:ext cx="1362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Printed 11/30/2006 3:13:02 AM</a:t>
            </a:r>
          </a:p>
        </p:txBody>
      </p:sp>
      <p:grpSp>
        <p:nvGrpSpPr>
          <p:cNvPr id="3079" name="McK Legend Moons" hidden="1">
            <a:extLst>
              <a:ext uri="{FF2B5EF4-FFF2-40B4-BE49-F238E27FC236}">
                <a16:creationId xmlns:a16="http://schemas.microsoft.com/office/drawing/2014/main" id="{B84DE081-4858-4FB7-8571-F1F79F8CE551}"/>
              </a:ext>
            </a:extLst>
          </p:cNvPr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043863" y="819150"/>
            <a:ext cx="758825" cy="1071563"/>
            <a:chOff x="4883" y="516"/>
            <a:chExt cx="478" cy="675"/>
          </a:xfrm>
        </p:grpSpPr>
        <p:sp>
          <p:nvSpPr>
            <p:cNvPr id="3146" name="Rectangle 260" hidden="1">
              <a:extLst>
                <a:ext uri="{FF2B5EF4-FFF2-40B4-BE49-F238E27FC236}">
                  <a16:creationId xmlns:a16="http://schemas.microsoft.com/office/drawing/2014/main" id="{3CEED21A-B022-4A11-9EEB-BBF63D9A820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7" name="Rectangle 261" hidden="1">
              <a:extLst>
                <a:ext uri="{FF2B5EF4-FFF2-40B4-BE49-F238E27FC236}">
                  <a16:creationId xmlns:a16="http://schemas.microsoft.com/office/drawing/2014/main" id="{E5F9222D-7D08-4E49-8E2D-B3D185EE52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8" name="Rectangle 262" hidden="1">
              <a:extLst>
                <a:ext uri="{FF2B5EF4-FFF2-40B4-BE49-F238E27FC236}">
                  <a16:creationId xmlns:a16="http://schemas.microsoft.com/office/drawing/2014/main" id="{F9814339-24CB-4302-8F5D-E251FA8805C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9" name="Rectangle 263" hidden="1">
              <a:extLst>
                <a:ext uri="{FF2B5EF4-FFF2-40B4-BE49-F238E27FC236}">
                  <a16:creationId xmlns:a16="http://schemas.microsoft.com/office/drawing/2014/main" id="{0FF761A1-B048-4F00-94B3-D406503EFE2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50" name="Oval 194" hidden="1">
              <a:extLst>
                <a:ext uri="{FF2B5EF4-FFF2-40B4-BE49-F238E27FC236}">
                  <a16:creationId xmlns:a16="http://schemas.microsoft.com/office/drawing/2014/main" id="{E19F38E8-3DA8-4A37-A2ED-9619319F647F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1"/>
              </p:custDataLst>
            </p:nvPr>
          </p:nvSpPr>
          <p:spPr bwMode="gray">
            <a:xfrm>
              <a:off x="4883" y="522"/>
              <a:ext cx="102" cy="102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grpSp>
          <p:nvGrpSpPr>
            <p:cNvPr id="3151" name="Group 196" hidden="1">
              <a:extLst>
                <a:ext uri="{FF2B5EF4-FFF2-40B4-BE49-F238E27FC236}">
                  <a16:creationId xmlns:a16="http://schemas.microsoft.com/office/drawing/2014/main" id="{BDCDDBA3-AE13-42E9-AABF-9EA3B4E642CC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2"/>
              </p:custDataLst>
            </p:nvPr>
          </p:nvGrpSpPr>
          <p:grpSpPr bwMode="auto">
            <a:xfrm>
              <a:off x="4883" y="662"/>
              <a:ext cx="102" cy="102"/>
              <a:chOff x="1694" y="2044"/>
              <a:chExt cx="160" cy="160"/>
            </a:xfrm>
          </p:grpSpPr>
          <p:sp>
            <p:nvSpPr>
              <p:cNvPr id="3160" name="Oval 197" hidden="1">
                <a:extLst>
                  <a:ext uri="{FF2B5EF4-FFF2-40B4-BE49-F238E27FC236}">
                    <a16:creationId xmlns:a16="http://schemas.microsoft.com/office/drawing/2014/main" id="{8BA1A5D5-5D18-4AFC-B1D7-7A0CBEE93A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61" name="Arc 198" hidden="1">
                <a:extLst>
                  <a:ext uri="{FF2B5EF4-FFF2-40B4-BE49-F238E27FC236}">
                    <a16:creationId xmlns:a16="http://schemas.microsoft.com/office/drawing/2014/main" id="{4E1B68F1-B14C-452D-885D-CD6603E82B0C}"/>
                  </a:ext>
                </a:extLst>
              </p:cNvPr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2" name="Group 200" hidden="1">
              <a:extLst>
                <a:ext uri="{FF2B5EF4-FFF2-40B4-BE49-F238E27FC236}">
                  <a16:creationId xmlns:a16="http://schemas.microsoft.com/office/drawing/2014/main" id="{F6255A44-5B2D-40DA-84ED-EEFEAD7301E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3"/>
              </p:custDataLst>
            </p:nvPr>
          </p:nvGrpSpPr>
          <p:grpSpPr bwMode="auto">
            <a:xfrm>
              <a:off x="4883" y="802"/>
              <a:ext cx="102" cy="102"/>
              <a:chOff x="1521" y="1401"/>
              <a:chExt cx="102" cy="102"/>
            </a:xfrm>
          </p:grpSpPr>
          <p:sp>
            <p:nvSpPr>
              <p:cNvPr id="3158" name="Oval 201" hidden="1">
                <a:extLst>
                  <a:ext uri="{FF2B5EF4-FFF2-40B4-BE49-F238E27FC236}">
                    <a16:creationId xmlns:a16="http://schemas.microsoft.com/office/drawing/2014/main" id="{CD577EC2-B4AE-4DA9-8838-16CF79B27F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1521" y="1401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9" name="Arc 202" hidden="1">
                <a:extLst>
                  <a:ext uri="{FF2B5EF4-FFF2-40B4-BE49-F238E27FC236}">
                    <a16:creationId xmlns:a16="http://schemas.microsoft.com/office/drawing/2014/main" id="{42B7FFC1-FFCE-4CFB-A88D-3166B467CCCE}"/>
                  </a:ext>
                </a:extLst>
              </p:cNvPr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1572" y="1401"/>
                <a:ext cx="51" cy="10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3" name="Group 204" hidden="1">
              <a:extLst>
                <a:ext uri="{FF2B5EF4-FFF2-40B4-BE49-F238E27FC236}">
                  <a16:creationId xmlns:a16="http://schemas.microsoft.com/office/drawing/2014/main" id="{F3A85D16-9246-457F-B5B8-F4DBEB5E50A7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4"/>
              </p:custDataLst>
            </p:nvPr>
          </p:nvGrpSpPr>
          <p:grpSpPr bwMode="auto">
            <a:xfrm>
              <a:off x="4883" y="942"/>
              <a:ext cx="102" cy="102"/>
              <a:chOff x="1521" y="1539"/>
              <a:chExt cx="102" cy="102"/>
            </a:xfrm>
          </p:grpSpPr>
          <p:sp>
            <p:nvSpPr>
              <p:cNvPr id="3156" name="Oval 205" hidden="1">
                <a:extLst>
                  <a:ext uri="{FF2B5EF4-FFF2-40B4-BE49-F238E27FC236}">
                    <a16:creationId xmlns:a16="http://schemas.microsoft.com/office/drawing/2014/main" id="{55C30B0D-0D99-425C-AA64-463F1A933B8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1521" y="1539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7" name="Arc 206" hidden="1">
                <a:extLst>
                  <a:ext uri="{FF2B5EF4-FFF2-40B4-BE49-F238E27FC236}">
                    <a16:creationId xmlns:a16="http://schemas.microsoft.com/office/drawing/2014/main" id="{B58F1CEC-4226-4C83-B241-47D6DA3D5E58}"/>
                  </a:ext>
                </a:extLst>
              </p:cNvPr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1521" y="1539"/>
                <a:ext cx="102" cy="10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54" name="Oval 208" hidden="1">
              <a:extLst>
                <a:ext uri="{FF2B5EF4-FFF2-40B4-BE49-F238E27FC236}">
                  <a16:creationId xmlns:a16="http://schemas.microsoft.com/office/drawing/2014/main" id="{9E89FC53-1313-4AA7-AF82-784C9644B507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5"/>
              </p:custDataLst>
            </p:nvPr>
          </p:nvSpPr>
          <p:spPr bwMode="gray">
            <a:xfrm>
              <a:off x="4883" y="1082"/>
              <a:ext cx="102" cy="102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55" name="Rectangle 264" hidden="1">
              <a:extLst>
                <a:ext uri="{FF2B5EF4-FFF2-40B4-BE49-F238E27FC236}">
                  <a16:creationId xmlns:a16="http://schemas.microsoft.com/office/drawing/2014/main" id="{870D8CB3-8963-426A-AF2F-503C451790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107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0" name="McK Legend Boxes" hidden="1">
            <a:extLst>
              <a:ext uri="{FF2B5EF4-FFF2-40B4-BE49-F238E27FC236}">
                <a16:creationId xmlns:a16="http://schemas.microsoft.com/office/drawing/2014/main" id="{397A89BE-B199-4C88-90F5-E18600EEF912}"/>
              </a:ext>
            </a:extLst>
          </p:cNvPr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8016875" y="819150"/>
            <a:ext cx="785813" cy="849313"/>
            <a:chOff x="4866" y="516"/>
            <a:chExt cx="495" cy="535"/>
          </a:xfrm>
        </p:grpSpPr>
        <p:sp>
          <p:nvSpPr>
            <p:cNvPr id="3138" name="Rectangle 179" hidden="1">
              <a:extLst>
                <a:ext uri="{FF2B5EF4-FFF2-40B4-BE49-F238E27FC236}">
                  <a16:creationId xmlns:a16="http://schemas.microsoft.com/office/drawing/2014/main" id="{CAE9ED80-1AD0-4D27-A3CE-2F1319CE085B}"/>
                </a:ext>
              </a:extLst>
            </p:cNvPr>
            <p:cNvSpPr>
              <a:spLocks noChangeArrowheads="1"/>
            </p:cNvSpPr>
            <p:nvPr userDrawn="1">
              <p:custDataLst>
                <p:tags r:id="rId47"/>
              </p:custDataLst>
            </p:nvPr>
          </p:nvSpPr>
          <p:spPr bwMode="gray">
            <a:xfrm>
              <a:off x="4866" y="522"/>
              <a:ext cx="136" cy="10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39" name="Rectangle 181" hidden="1">
              <a:extLst>
                <a:ext uri="{FF2B5EF4-FFF2-40B4-BE49-F238E27FC236}">
                  <a16:creationId xmlns:a16="http://schemas.microsoft.com/office/drawing/2014/main" id="{17976B08-E18A-4B9B-8DA5-BB405C5D6306}"/>
                </a:ext>
              </a:extLst>
            </p:cNvPr>
            <p:cNvSpPr>
              <a:spLocks noChangeArrowheads="1"/>
            </p:cNvSpPr>
            <p:nvPr userDrawn="1">
              <p:custDataLst>
                <p:tags r:id="rId48"/>
              </p:custDataLst>
            </p:nvPr>
          </p:nvSpPr>
          <p:spPr bwMode="gray">
            <a:xfrm>
              <a:off x="4866" y="662"/>
              <a:ext cx="136" cy="10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0" name="Rectangle 183" hidden="1">
              <a:extLst>
                <a:ext uri="{FF2B5EF4-FFF2-40B4-BE49-F238E27FC236}">
                  <a16:creationId xmlns:a16="http://schemas.microsoft.com/office/drawing/2014/main" id="{6EC95A5E-3760-4971-8816-6BC7E9291E46}"/>
                </a:ext>
              </a:extLst>
            </p:cNvPr>
            <p:cNvSpPr>
              <a:spLocks noChangeArrowheads="1"/>
            </p:cNvSpPr>
            <p:nvPr userDrawn="1">
              <p:custDataLst>
                <p:tags r:id="rId49"/>
              </p:custDataLst>
            </p:nvPr>
          </p:nvSpPr>
          <p:spPr bwMode="gray">
            <a:xfrm>
              <a:off x="4866" y="802"/>
              <a:ext cx="136" cy="102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1" name="Rectangle 185" hidden="1">
              <a:extLst>
                <a:ext uri="{FF2B5EF4-FFF2-40B4-BE49-F238E27FC236}">
                  <a16:creationId xmlns:a16="http://schemas.microsoft.com/office/drawing/2014/main" id="{C166D94B-EA92-4B12-B8E7-31462CA45B75}"/>
                </a:ext>
              </a:extLst>
            </p:cNvPr>
            <p:cNvSpPr>
              <a:spLocks noChangeArrowheads="1"/>
            </p:cNvSpPr>
            <p:nvPr userDrawn="1">
              <p:custDataLst>
                <p:tags r:id="rId50"/>
              </p:custDataLst>
            </p:nvPr>
          </p:nvSpPr>
          <p:spPr bwMode="gray">
            <a:xfrm>
              <a:off x="4866" y="942"/>
              <a:ext cx="136" cy="102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2" name="Rectangle 273" hidden="1">
              <a:extLst>
                <a:ext uri="{FF2B5EF4-FFF2-40B4-BE49-F238E27FC236}">
                  <a16:creationId xmlns:a16="http://schemas.microsoft.com/office/drawing/2014/main" id="{89C4675E-6182-4D65-A2D4-8E459FD7CF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3" name="Rectangle 274" hidden="1">
              <a:extLst>
                <a:ext uri="{FF2B5EF4-FFF2-40B4-BE49-F238E27FC236}">
                  <a16:creationId xmlns:a16="http://schemas.microsoft.com/office/drawing/2014/main" id="{D396AD5B-324D-4B76-8021-15DB24A1A6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4" name="Rectangle 275" hidden="1">
              <a:extLst>
                <a:ext uri="{FF2B5EF4-FFF2-40B4-BE49-F238E27FC236}">
                  <a16:creationId xmlns:a16="http://schemas.microsoft.com/office/drawing/2014/main" id="{2EA292E9-595B-4CD3-8A3C-253D69F4987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5" name="Rectangle 276" hidden="1">
              <a:extLst>
                <a:ext uri="{FF2B5EF4-FFF2-40B4-BE49-F238E27FC236}">
                  <a16:creationId xmlns:a16="http://schemas.microsoft.com/office/drawing/2014/main" id="{EE10152E-52B7-47B1-AD19-3A3325D05C7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1" name="McK Legend Lines" hidden="1">
            <a:extLst>
              <a:ext uri="{FF2B5EF4-FFF2-40B4-BE49-F238E27FC236}">
                <a16:creationId xmlns:a16="http://schemas.microsoft.com/office/drawing/2014/main" id="{89ED49CE-0474-45E9-AABE-F4CE27BE9B83}"/>
              </a:ext>
            </a:extLst>
          </p:cNvPr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7762875" y="819150"/>
            <a:ext cx="1039813" cy="627063"/>
            <a:chOff x="4706" y="516"/>
            <a:chExt cx="655" cy="395"/>
          </a:xfrm>
        </p:grpSpPr>
        <p:sp>
          <p:nvSpPr>
            <p:cNvPr id="3132" name="Line 190" hidden="1">
              <a:extLst>
                <a:ext uri="{FF2B5EF4-FFF2-40B4-BE49-F238E27FC236}">
                  <a16:creationId xmlns:a16="http://schemas.microsoft.com/office/drawing/2014/main" id="{E1902719-449E-4390-8CCD-832999D51303}"/>
                </a:ext>
              </a:extLst>
            </p:cNvPr>
            <p:cNvSpPr>
              <a:spLocks noChangeShapeType="1"/>
            </p:cNvSpPr>
            <p:nvPr userDrawn="1">
              <p:custDataLst>
                <p:tags r:id="rId44"/>
              </p:custDataLst>
            </p:nvPr>
          </p:nvSpPr>
          <p:spPr bwMode="gray">
            <a:xfrm flipH="1">
              <a:off x="4706" y="573"/>
              <a:ext cx="296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3" name="Line 191" hidden="1">
              <a:extLst>
                <a:ext uri="{FF2B5EF4-FFF2-40B4-BE49-F238E27FC236}">
                  <a16:creationId xmlns:a16="http://schemas.microsoft.com/office/drawing/2014/main" id="{621F3446-D4E4-4E66-918C-91A88778FFD9}"/>
                </a:ext>
              </a:extLst>
            </p:cNvPr>
            <p:cNvSpPr>
              <a:spLocks noChangeShapeType="1"/>
            </p:cNvSpPr>
            <p:nvPr userDrawn="1">
              <p:custDataLst>
                <p:tags r:id="rId45"/>
              </p:custDataLst>
            </p:nvPr>
          </p:nvSpPr>
          <p:spPr bwMode="gray">
            <a:xfrm flipH="1">
              <a:off x="4706" y="713"/>
              <a:ext cx="296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4" name="Line 192" hidden="1">
              <a:extLst>
                <a:ext uri="{FF2B5EF4-FFF2-40B4-BE49-F238E27FC236}">
                  <a16:creationId xmlns:a16="http://schemas.microsoft.com/office/drawing/2014/main" id="{D4238F65-EBE3-4B09-8FE0-6F5EED906997}"/>
                </a:ext>
              </a:extLst>
            </p:cNvPr>
            <p:cNvSpPr>
              <a:spLocks noChangeShapeType="1"/>
            </p:cNvSpPr>
            <p:nvPr userDrawn="1">
              <p:custDataLst>
                <p:tags r:id="rId46"/>
              </p:custDataLst>
            </p:nvPr>
          </p:nvSpPr>
          <p:spPr bwMode="gray">
            <a:xfrm flipH="1">
              <a:off x="4706" y="853"/>
              <a:ext cx="296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5" name="Rectangle 278" hidden="1">
              <a:extLst>
                <a:ext uri="{FF2B5EF4-FFF2-40B4-BE49-F238E27FC236}">
                  <a16:creationId xmlns:a16="http://schemas.microsoft.com/office/drawing/2014/main" id="{1189AE54-1701-4C49-A7C5-D2049A6AE95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6" name="Rectangle 279" hidden="1">
              <a:extLst>
                <a:ext uri="{FF2B5EF4-FFF2-40B4-BE49-F238E27FC236}">
                  <a16:creationId xmlns:a16="http://schemas.microsoft.com/office/drawing/2014/main" id="{D14BF3FB-A1E9-490C-A2AC-087E75C803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7" name="Rectangle 280" hidden="1">
              <a:extLst>
                <a:ext uri="{FF2B5EF4-FFF2-40B4-BE49-F238E27FC236}">
                  <a16:creationId xmlns:a16="http://schemas.microsoft.com/office/drawing/2014/main" id="{C8F575B3-63D6-48A0-978D-C9130ED4FAD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2" name="McK Alternative Sticker" hidden="1">
            <a:extLst>
              <a:ext uri="{FF2B5EF4-FFF2-40B4-BE49-F238E27FC236}">
                <a16:creationId xmlns:a16="http://schemas.microsoft.com/office/drawing/2014/main" id="{FE626159-6C77-47CC-9BAC-A395CF21B766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26413" y="793750"/>
            <a:ext cx="668337" cy="200025"/>
            <a:chOff x="2144" y="2357"/>
            <a:chExt cx="421" cy="126"/>
          </a:xfrm>
        </p:grpSpPr>
        <p:sp>
          <p:nvSpPr>
            <p:cNvPr id="3129" name="AutoShape 283" hidden="1">
              <a:extLst>
                <a:ext uri="{FF2B5EF4-FFF2-40B4-BE49-F238E27FC236}">
                  <a16:creationId xmlns:a16="http://schemas.microsoft.com/office/drawing/2014/main" id="{042D5F8B-C60F-42D1-969E-70930ACCC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30" name="AutoShape 284" hidden="1">
              <a:extLst>
                <a:ext uri="{FF2B5EF4-FFF2-40B4-BE49-F238E27FC236}">
                  <a16:creationId xmlns:a16="http://schemas.microsoft.com/office/drawing/2014/main" id="{18616D8B-5E6D-4E2D-A038-015DB55A843B}"/>
                </a:ext>
              </a:extLst>
            </p:cNvPr>
            <p:cNvCxnSpPr>
              <a:cxnSpLocks noChangeShapeType="1"/>
              <a:stCxn id="3129" idx="2"/>
              <a:endCxn id="3129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31" name="AutoShape 285" hidden="1">
              <a:extLst>
                <a:ext uri="{FF2B5EF4-FFF2-40B4-BE49-F238E27FC236}">
                  <a16:creationId xmlns:a16="http://schemas.microsoft.com/office/drawing/2014/main" id="{15E45E72-8E11-41FB-AD33-07E6D153AD62}"/>
                </a:ext>
              </a:extLst>
            </p:cNvPr>
            <p:cNvCxnSpPr>
              <a:cxnSpLocks noChangeShapeType="1"/>
              <a:stCxn id="3129" idx="4"/>
              <a:endCxn id="3129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3" name="McK Default Sticker" hidden="1">
            <a:extLst>
              <a:ext uri="{FF2B5EF4-FFF2-40B4-BE49-F238E27FC236}">
                <a16:creationId xmlns:a16="http://schemas.microsoft.com/office/drawing/2014/main" id="{4CD5E24D-667B-495F-A16D-008A9639A260}"/>
              </a:ext>
            </a:extLst>
          </p:cNvPr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8126413" y="512763"/>
            <a:ext cx="668337" cy="200025"/>
            <a:chOff x="2144" y="2357"/>
            <a:chExt cx="421" cy="126"/>
          </a:xfrm>
        </p:grpSpPr>
        <p:sp>
          <p:nvSpPr>
            <p:cNvPr id="3126" name="AutoShape 288" hidden="1">
              <a:extLst>
                <a:ext uri="{FF2B5EF4-FFF2-40B4-BE49-F238E27FC236}">
                  <a16:creationId xmlns:a16="http://schemas.microsoft.com/office/drawing/2014/main" id="{00279E62-02D4-4376-9232-CAE1BE8DAE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27" name="AutoShape 289" hidden="1">
              <a:extLst>
                <a:ext uri="{FF2B5EF4-FFF2-40B4-BE49-F238E27FC236}">
                  <a16:creationId xmlns:a16="http://schemas.microsoft.com/office/drawing/2014/main" id="{CBB082BF-EB2C-4675-B21B-E1971F412CA6}"/>
                </a:ext>
              </a:extLst>
            </p:cNvPr>
            <p:cNvCxnSpPr>
              <a:cxnSpLocks noChangeShapeType="1"/>
              <a:stCxn id="3126" idx="2"/>
              <a:endCxn id="3126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28" name="AutoShape 290" hidden="1">
              <a:extLst>
                <a:ext uri="{FF2B5EF4-FFF2-40B4-BE49-F238E27FC236}">
                  <a16:creationId xmlns:a16="http://schemas.microsoft.com/office/drawing/2014/main" id="{4A5F07AB-84C6-451B-A5C2-EE837A9C80F2}"/>
                </a:ext>
              </a:extLst>
            </p:cNvPr>
            <p:cNvCxnSpPr>
              <a:cxnSpLocks noChangeShapeType="1"/>
              <a:stCxn id="3126" idx="4"/>
              <a:endCxn id="3126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4" name="Group 370">
            <a:extLst>
              <a:ext uri="{FF2B5EF4-FFF2-40B4-BE49-F238E27FC236}">
                <a16:creationId xmlns:a16="http://schemas.microsoft.com/office/drawing/2014/main" id="{ABECB424-256E-44FB-8BD7-826BCA907FC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3123" name="Rectangle 46">
              <a:extLst>
                <a:ext uri="{FF2B5EF4-FFF2-40B4-BE49-F238E27FC236}">
                  <a16:creationId xmlns:a16="http://schemas.microsoft.com/office/drawing/2014/main" id="{2B287F39-8DF3-4635-B716-4264C49F239A}"/>
                </a:ext>
              </a:extLst>
            </p:cNvPr>
            <p:cNvSpPr>
              <a:spLocks noChangeArrowheads="1"/>
            </p:cNvSpPr>
            <p:nvPr userDrawn="1">
              <p:custDataLst>
                <p:tags r:id="rId41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4" name="Rectangle 49">
              <a:extLst>
                <a:ext uri="{FF2B5EF4-FFF2-40B4-BE49-F238E27FC236}">
                  <a16:creationId xmlns:a16="http://schemas.microsoft.com/office/drawing/2014/main" id="{89A8F80D-6FF5-438A-9DC6-9647381B2DCE}"/>
                </a:ext>
              </a:extLst>
            </p:cNvPr>
            <p:cNvSpPr>
              <a:spLocks noChangeArrowheads="1"/>
            </p:cNvSpPr>
            <p:nvPr userDrawn="1">
              <p:custDataLst>
                <p:tags r:id="rId42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5" name="Rectangle 48">
              <a:extLst>
                <a:ext uri="{FF2B5EF4-FFF2-40B4-BE49-F238E27FC236}">
                  <a16:creationId xmlns:a16="http://schemas.microsoft.com/office/drawing/2014/main" id="{8049A635-0FA6-4582-AF5D-CCB89705EE85}"/>
                </a:ext>
              </a:extLst>
            </p:cNvPr>
            <p:cNvSpPr>
              <a:spLocks noChangeArrowheads="1"/>
            </p:cNvSpPr>
            <p:nvPr userDrawn="1">
              <p:custDataLst>
                <p:tags r:id="rId43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grpSp>
        <p:nvGrpSpPr>
          <p:cNvPr id="3085" name="McK Working Grid A" hidden="1">
            <a:extLst>
              <a:ext uri="{FF2B5EF4-FFF2-40B4-BE49-F238E27FC236}">
                <a16:creationId xmlns:a16="http://schemas.microsoft.com/office/drawing/2014/main" id="{0CD7DBC4-429D-4648-A101-4F58939FF99D}"/>
              </a:ext>
            </a:extLst>
          </p:cNvPr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sp>
          <p:nvSpPr>
            <p:cNvPr id="3109" name="Line 310" hidden="1">
              <a:extLst>
                <a:ext uri="{FF2B5EF4-FFF2-40B4-BE49-F238E27FC236}">
                  <a16:creationId xmlns:a16="http://schemas.microsoft.com/office/drawing/2014/main" id="{4A7E6F7F-2043-40F4-9C63-440DA916EA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0" name="Line 311" hidden="1">
              <a:extLst>
                <a:ext uri="{FF2B5EF4-FFF2-40B4-BE49-F238E27FC236}">
                  <a16:creationId xmlns:a16="http://schemas.microsoft.com/office/drawing/2014/main" id="{1DFE5321-F5BD-4B7C-9B19-9C9643680CA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1" name="Line 312" hidden="1">
              <a:extLst>
                <a:ext uri="{FF2B5EF4-FFF2-40B4-BE49-F238E27FC236}">
                  <a16:creationId xmlns:a16="http://schemas.microsoft.com/office/drawing/2014/main" id="{C8DF9841-95C7-4B40-8052-CE29FB0866B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2" name="Line 313" hidden="1">
              <a:extLst>
                <a:ext uri="{FF2B5EF4-FFF2-40B4-BE49-F238E27FC236}">
                  <a16:creationId xmlns:a16="http://schemas.microsoft.com/office/drawing/2014/main" id="{2C0A7560-60FE-4623-BB6D-9C1601C58F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3" name="Line 314" hidden="1">
              <a:extLst>
                <a:ext uri="{FF2B5EF4-FFF2-40B4-BE49-F238E27FC236}">
                  <a16:creationId xmlns:a16="http://schemas.microsoft.com/office/drawing/2014/main" id="{693DE93B-7B12-48FC-817F-1C989E6A5C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4" name="Line 315" hidden="1">
              <a:extLst>
                <a:ext uri="{FF2B5EF4-FFF2-40B4-BE49-F238E27FC236}">
                  <a16:creationId xmlns:a16="http://schemas.microsoft.com/office/drawing/2014/main" id="{C962C7A8-6F62-4610-8EF6-981EF39F60D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5" name="Line 316" hidden="1">
              <a:extLst>
                <a:ext uri="{FF2B5EF4-FFF2-40B4-BE49-F238E27FC236}">
                  <a16:creationId xmlns:a16="http://schemas.microsoft.com/office/drawing/2014/main" id="{9025970F-B915-46F9-894D-78FEABE5A5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6" name="Line 317" hidden="1">
              <a:extLst>
                <a:ext uri="{FF2B5EF4-FFF2-40B4-BE49-F238E27FC236}">
                  <a16:creationId xmlns:a16="http://schemas.microsoft.com/office/drawing/2014/main" id="{7A75318F-BDC3-42A3-9718-9956697615F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7" name="Line 318" hidden="1">
              <a:extLst>
                <a:ext uri="{FF2B5EF4-FFF2-40B4-BE49-F238E27FC236}">
                  <a16:creationId xmlns:a16="http://schemas.microsoft.com/office/drawing/2014/main" id="{9C51D037-F56F-4E96-8723-041669FC452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26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8" name="Line 319" hidden="1">
              <a:extLst>
                <a:ext uri="{FF2B5EF4-FFF2-40B4-BE49-F238E27FC236}">
                  <a16:creationId xmlns:a16="http://schemas.microsoft.com/office/drawing/2014/main" id="{0E4B77FE-97C1-416E-BF5A-21444856A3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78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9" name="Line 320" hidden="1">
              <a:extLst>
                <a:ext uri="{FF2B5EF4-FFF2-40B4-BE49-F238E27FC236}">
                  <a16:creationId xmlns:a16="http://schemas.microsoft.com/office/drawing/2014/main" id="{9D7FA97C-F157-4F4D-9CC3-FE7386A391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72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0" name="Line 321" hidden="1">
              <a:extLst>
                <a:ext uri="{FF2B5EF4-FFF2-40B4-BE49-F238E27FC236}">
                  <a16:creationId xmlns:a16="http://schemas.microsoft.com/office/drawing/2014/main" id="{CEFD88DB-1310-46F8-9B5A-7015FF78E123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1" name="Line 322" hidden="1">
              <a:extLst>
                <a:ext uri="{FF2B5EF4-FFF2-40B4-BE49-F238E27FC236}">
                  <a16:creationId xmlns:a16="http://schemas.microsoft.com/office/drawing/2014/main" id="{1D732016-0058-4F2E-9F2D-6DF19546DA77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2" name="Line 323" hidden="1">
              <a:extLst>
                <a:ext uri="{FF2B5EF4-FFF2-40B4-BE49-F238E27FC236}">
                  <a16:creationId xmlns:a16="http://schemas.microsoft.com/office/drawing/2014/main" id="{4050735D-0EE7-41F2-805B-952B3BEC9FBF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3086" name="McK Working Grid B" hidden="1">
            <a:extLst>
              <a:ext uri="{FF2B5EF4-FFF2-40B4-BE49-F238E27FC236}">
                <a16:creationId xmlns:a16="http://schemas.microsoft.com/office/drawing/2014/main" id="{6EB42DF5-696F-4718-BDBC-7DB147A5CB2B}"/>
              </a:ext>
            </a:extLst>
          </p:cNvPr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grpSp>
          <p:nvGrpSpPr>
            <p:cNvPr id="3090" name="Group 346" hidden="1">
              <a:extLst>
                <a:ext uri="{FF2B5EF4-FFF2-40B4-BE49-F238E27FC236}">
                  <a16:creationId xmlns:a16="http://schemas.microsoft.com/office/drawing/2014/main" id="{C02D198B-1FCB-4141-BF52-C678FFE4689B}"/>
                </a:ext>
              </a:extLst>
            </p:cNvPr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3686" y="-100"/>
              <a:ext cx="91" cy="4419"/>
              <a:chOff x="2781" y="-100"/>
              <a:chExt cx="91" cy="4419"/>
            </a:xfrm>
          </p:grpSpPr>
          <p:sp>
            <p:nvSpPr>
              <p:cNvPr id="3106" name="Line 347" hidden="1">
                <a:extLst>
                  <a:ext uri="{FF2B5EF4-FFF2-40B4-BE49-F238E27FC236}">
                    <a16:creationId xmlns:a16="http://schemas.microsoft.com/office/drawing/2014/main" id="{89CF5DA5-3645-48A7-A39B-70470E55F8F4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7" name="Line 348" hidden="1">
                <a:extLst>
                  <a:ext uri="{FF2B5EF4-FFF2-40B4-BE49-F238E27FC236}">
                    <a16:creationId xmlns:a16="http://schemas.microsoft.com/office/drawing/2014/main" id="{2D7C1679-E881-4537-92CE-A58E8DD9226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8" name="Line 349" hidden="1">
                <a:extLst>
                  <a:ext uri="{FF2B5EF4-FFF2-40B4-BE49-F238E27FC236}">
                    <a16:creationId xmlns:a16="http://schemas.microsoft.com/office/drawing/2014/main" id="{D2351101-94A2-428E-9703-B84A910AD25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091" name="Line 350" hidden="1">
              <a:extLst>
                <a:ext uri="{FF2B5EF4-FFF2-40B4-BE49-F238E27FC236}">
                  <a16:creationId xmlns:a16="http://schemas.microsoft.com/office/drawing/2014/main" id="{355F8863-2206-4447-A1A1-B45A70A39095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2" name="Line 351" hidden="1">
              <a:extLst>
                <a:ext uri="{FF2B5EF4-FFF2-40B4-BE49-F238E27FC236}">
                  <a16:creationId xmlns:a16="http://schemas.microsoft.com/office/drawing/2014/main" id="{CA3E46D2-B7EE-4326-B982-9AD7CF475B3F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3" name="Line 352" hidden="1">
              <a:extLst>
                <a:ext uri="{FF2B5EF4-FFF2-40B4-BE49-F238E27FC236}">
                  <a16:creationId xmlns:a16="http://schemas.microsoft.com/office/drawing/2014/main" id="{3A914975-31F9-4908-B91A-C76E8CDC792B}"/>
                </a:ext>
              </a:extLst>
            </p:cNvPr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4" name="Line 353" hidden="1">
              <a:extLst>
                <a:ext uri="{FF2B5EF4-FFF2-40B4-BE49-F238E27FC236}">
                  <a16:creationId xmlns:a16="http://schemas.microsoft.com/office/drawing/2014/main" id="{B1CCF374-7880-4A2C-9173-090F2EC7818B}"/>
                </a:ext>
              </a:extLst>
            </p:cNvPr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5" name="Line 354" hidden="1">
              <a:extLst>
                <a:ext uri="{FF2B5EF4-FFF2-40B4-BE49-F238E27FC236}">
                  <a16:creationId xmlns:a16="http://schemas.microsoft.com/office/drawing/2014/main" id="{40FFCA59-17F7-4847-9363-037170AE17BA}"/>
                </a:ext>
              </a:extLst>
            </p:cNvPr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6" name="Line 355" hidden="1">
              <a:extLst>
                <a:ext uri="{FF2B5EF4-FFF2-40B4-BE49-F238E27FC236}">
                  <a16:creationId xmlns:a16="http://schemas.microsoft.com/office/drawing/2014/main" id="{8A212305-9090-4CED-88CE-55538D3B65B7}"/>
                </a:ext>
              </a:extLst>
            </p:cNvPr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7" name="Line 356" hidden="1">
              <a:extLst>
                <a:ext uri="{FF2B5EF4-FFF2-40B4-BE49-F238E27FC236}">
                  <a16:creationId xmlns:a16="http://schemas.microsoft.com/office/drawing/2014/main" id="{EF812B7E-8B85-4E62-9E5A-4920810C6E96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8" name="Line 357" hidden="1">
              <a:extLst>
                <a:ext uri="{FF2B5EF4-FFF2-40B4-BE49-F238E27FC236}">
                  <a16:creationId xmlns:a16="http://schemas.microsoft.com/office/drawing/2014/main" id="{3C3A732A-92C4-4786-98C5-BA836D58FF0F}"/>
                </a:ext>
              </a:extLst>
            </p:cNvPr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3099" name="Group 358" hidden="1">
              <a:extLst>
                <a:ext uri="{FF2B5EF4-FFF2-40B4-BE49-F238E27FC236}">
                  <a16:creationId xmlns:a16="http://schemas.microsoft.com/office/drawing/2014/main" id="{684D6F66-4CBE-4F90-ABDB-B3A6DCD188A4}"/>
                </a:ext>
              </a:extLst>
            </p:cNvPr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1875" y="-100"/>
              <a:ext cx="91" cy="4419"/>
              <a:chOff x="2781" y="-100"/>
              <a:chExt cx="91" cy="4419"/>
            </a:xfrm>
          </p:grpSpPr>
          <p:sp>
            <p:nvSpPr>
              <p:cNvPr id="3103" name="Line 359" hidden="1">
                <a:extLst>
                  <a:ext uri="{FF2B5EF4-FFF2-40B4-BE49-F238E27FC236}">
                    <a16:creationId xmlns:a16="http://schemas.microsoft.com/office/drawing/2014/main" id="{353BCA80-303D-4DD0-9059-47FA9AB3194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4" name="Line 360" hidden="1">
                <a:extLst>
                  <a:ext uri="{FF2B5EF4-FFF2-40B4-BE49-F238E27FC236}">
                    <a16:creationId xmlns:a16="http://schemas.microsoft.com/office/drawing/2014/main" id="{B79D57CC-9E09-48ED-926A-80711F68EFC8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5" name="Line 361" hidden="1">
                <a:extLst>
                  <a:ext uri="{FF2B5EF4-FFF2-40B4-BE49-F238E27FC236}">
                    <a16:creationId xmlns:a16="http://schemas.microsoft.com/office/drawing/2014/main" id="{F19852B2-9EE4-4050-9EB2-DA433B088DC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00" name="Line 362" hidden="1">
              <a:extLst>
                <a:ext uri="{FF2B5EF4-FFF2-40B4-BE49-F238E27FC236}">
                  <a16:creationId xmlns:a16="http://schemas.microsoft.com/office/drawing/2014/main" id="{3A9CB5F6-76F6-4F00-860B-5DA4489ED71D}"/>
                </a:ext>
              </a:extLst>
            </p:cNvPr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1" name="Line 363" hidden="1">
              <a:extLst>
                <a:ext uri="{FF2B5EF4-FFF2-40B4-BE49-F238E27FC236}">
                  <a16:creationId xmlns:a16="http://schemas.microsoft.com/office/drawing/2014/main" id="{61756018-8F45-499A-826C-930DC127E789}"/>
                </a:ext>
              </a:extLst>
            </p:cNvPr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2" name="Line 364" hidden="1">
              <a:extLst>
                <a:ext uri="{FF2B5EF4-FFF2-40B4-BE49-F238E27FC236}">
                  <a16:creationId xmlns:a16="http://schemas.microsoft.com/office/drawing/2014/main" id="{FEB11AD5-65CC-429F-8C36-45750C0ABB87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4" name="pg num">
            <a:extLst>
              <a:ext uri="{FF2B5EF4-FFF2-40B4-BE49-F238E27FC236}">
                <a16:creationId xmlns:a16="http://schemas.microsoft.com/office/drawing/2014/main" id="{AA517907-55AF-472C-93CE-61D25FFBBE6A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6"/>
            </p:custDataLst>
          </p:nvPr>
        </p:nvSpPr>
        <p:spPr bwMode="black">
          <a:xfrm>
            <a:off x="176213" y="6499225"/>
            <a:ext cx="1857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2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1B847AA6-8BFF-40FF-9B8D-637AA1DD10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3088" name="Rectangle 47" hidden="1">
            <a:extLst>
              <a:ext uri="{FF2B5EF4-FFF2-40B4-BE49-F238E27FC236}">
                <a16:creationId xmlns:a16="http://schemas.microsoft.com/office/drawing/2014/main" id="{43CD6A9F-881E-4C58-86B5-01288FE0B793}"/>
              </a:ext>
            </a:extLst>
          </p:cNvPr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r:id="rId64" imgW="0" imgH="0" progId="">
                  <p:embed/>
                </p:oleObj>
              </mc:Choice>
              <mc:Fallback>
                <p:oleObj r:id="rId64" imgW="0" imgH="0" progId="">
                  <p:embed/>
                  <p:pic>
                    <p:nvPicPr>
                      <p:cNvPr id="0" name="Rectangle 4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0" name="doc id">
            <a:extLst>
              <a:ext uri="{FF2B5EF4-FFF2-40B4-BE49-F238E27FC236}">
                <a16:creationId xmlns:a16="http://schemas.microsoft.com/office/drawing/2014/main" id="{0B8070CE-7DA9-4C72-8118-999D3FC991B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75" y="6530975"/>
            <a:ext cx="9207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9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9" r:id="rId12"/>
  </p:sldLayoutIdLst>
  <p:transition>
    <p:wipe dir="r"/>
  </p:transition>
  <p:hf hdr="0" dt="0"/>
  <p:txStyles>
    <p:titleStyle>
      <a:lvl1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6000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Ø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0.xml"/><Relationship Id="rId11" Type="http://schemas.openxmlformats.org/officeDocument/2006/relationships/image" Target="../media/image1.png"/><Relationship Id="rId5" Type="http://schemas.openxmlformats.org/officeDocument/2006/relationships/tags" Target="../tags/tag119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18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2.xml"/><Relationship Id="rId5" Type="http://schemas.openxmlformats.org/officeDocument/2006/relationships/image" Target="../media/image3.png"/><Relationship Id="rId4" Type="http://schemas.openxmlformats.org/officeDocument/2006/relationships/tags" Target="../tags/tag18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8.vml"/><Relationship Id="rId6" Type="http://schemas.openxmlformats.org/officeDocument/2006/relationships/tags" Target="../tags/tag188.xml"/><Relationship Id="rId5" Type="http://schemas.openxmlformats.org/officeDocument/2006/relationships/tags" Target="../tags/tag187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86.xml"/><Relationship Id="rId9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2.xml"/><Relationship Id="rId4" Type="http://schemas.openxmlformats.org/officeDocument/2006/relationships/chart" Target="../charts/char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4.xml"/><Relationship Id="rId4" Type="http://schemas.openxmlformats.org/officeDocument/2006/relationships/chart" Target="../charts/char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96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98.xml"/><Relationship Id="rId4" Type="http://schemas.openxmlformats.org/officeDocument/2006/relationships/tags" Target="../tags/tag19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tags" Target="../tags/tag211.xml"/><Relationship Id="rId18" Type="http://schemas.openxmlformats.org/officeDocument/2006/relationships/tags" Target="../tags/tag216.xml"/><Relationship Id="rId26" Type="http://schemas.openxmlformats.org/officeDocument/2006/relationships/oleObject" Target="../embeddings/oleObject10.bin"/><Relationship Id="rId3" Type="http://schemas.openxmlformats.org/officeDocument/2006/relationships/tags" Target="../tags/tag201.xml"/><Relationship Id="rId21" Type="http://schemas.openxmlformats.org/officeDocument/2006/relationships/tags" Target="../tags/tag219.xml"/><Relationship Id="rId7" Type="http://schemas.openxmlformats.org/officeDocument/2006/relationships/tags" Target="../tags/tag205.xml"/><Relationship Id="rId12" Type="http://schemas.openxmlformats.org/officeDocument/2006/relationships/tags" Target="../tags/tag210.xml"/><Relationship Id="rId17" Type="http://schemas.openxmlformats.org/officeDocument/2006/relationships/tags" Target="../tags/tag215.xml"/><Relationship Id="rId25" Type="http://schemas.openxmlformats.org/officeDocument/2006/relationships/notesSlide" Target="../notesSlides/notesSlide27.xml"/><Relationship Id="rId2" Type="http://schemas.openxmlformats.org/officeDocument/2006/relationships/tags" Target="../tags/tag200.xml"/><Relationship Id="rId16" Type="http://schemas.openxmlformats.org/officeDocument/2006/relationships/tags" Target="../tags/tag214.xml"/><Relationship Id="rId20" Type="http://schemas.openxmlformats.org/officeDocument/2006/relationships/tags" Target="../tags/tag218.xml"/><Relationship Id="rId29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24" Type="http://schemas.openxmlformats.org/officeDocument/2006/relationships/slideLayout" Target="../slideLayouts/slideLayout6.xml"/><Relationship Id="rId32" Type="http://schemas.openxmlformats.org/officeDocument/2006/relationships/image" Target="../media/image5.png"/><Relationship Id="rId5" Type="http://schemas.openxmlformats.org/officeDocument/2006/relationships/tags" Target="../tags/tag203.xml"/><Relationship Id="rId15" Type="http://schemas.openxmlformats.org/officeDocument/2006/relationships/tags" Target="../tags/tag213.xml"/><Relationship Id="rId23" Type="http://schemas.openxmlformats.org/officeDocument/2006/relationships/tags" Target="../tags/tag221.xml"/><Relationship Id="rId28" Type="http://schemas.openxmlformats.org/officeDocument/2006/relationships/oleObject" Target="../embeddings/oleObject11.bin"/><Relationship Id="rId10" Type="http://schemas.openxmlformats.org/officeDocument/2006/relationships/tags" Target="../tags/tag208.xml"/><Relationship Id="rId19" Type="http://schemas.openxmlformats.org/officeDocument/2006/relationships/tags" Target="../tags/tag217.xml"/><Relationship Id="rId31" Type="http://schemas.openxmlformats.org/officeDocument/2006/relationships/oleObject" Target="../embeddings/oleObject12.bin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tags" Target="../tags/tag212.xml"/><Relationship Id="rId22" Type="http://schemas.openxmlformats.org/officeDocument/2006/relationships/tags" Target="../tags/tag220.xml"/><Relationship Id="rId27" Type="http://schemas.openxmlformats.org/officeDocument/2006/relationships/image" Target="../media/image2.emf"/><Relationship Id="rId30" Type="http://schemas.openxmlformats.org/officeDocument/2006/relationships/image" Target="../media/image4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223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5.xml"/><Relationship Id="rId4" Type="http://schemas.openxmlformats.org/officeDocument/2006/relationships/tags" Target="../tags/tag22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Relationship Id="rId5" Type="http://schemas.openxmlformats.org/officeDocument/2006/relationships/image" Target="../media/image2.png"/><Relationship Id="rId4" Type="http://schemas.openxmlformats.org/officeDocument/2006/relationships/tags" Target="../tags/tag13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3" Type="http://schemas.openxmlformats.org/officeDocument/2006/relationships/tags" Target="../tags/tag136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tags" Target="../tags/tag175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46" Type="http://schemas.openxmlformats.org/officeDocument/2006/relationships/oleObject" Target="../embeddings/oleObject7.bin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29" Type="http://schemas.openxmlformats.org/officeDocument/2006/relationships/tags" Target="../tags/tag162.xml"/><Relationship Id="rId41" Type="http://schemas.openxmlformats.org/officeDocument/2006/relationships/tags" Target="../tags/tag174.xml"/><Relationship Id="rId1" Type="http://schemas.openxmlformats.org/officeDocument/2006/relationships/vmlDrawing" Target="../drawings/vmlDrawing7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45" Type="http://schemas.openxmlformats.org/officeDocument/2006/relationships/notesSlide" Target="../notesSlides/notesSlide5.xml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4" Type="http://schemas.openxmlformats.org/officeDocument/2006/relationships/slideLayout" Target="../slideLayouts/slideLayout2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tags" Target="../tags/tag1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7">
            <a:extLst>
              <a:ext uri="{FF2B5EF4-FFF2-40B4-BE49-F238E27FC236}">
                <a16:creationId xmlns:a16="http://schemas.microsoft.com/office/drawing/2014/main" id="{1848DC62-A128-4408-95E7-938782FE1C51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649788" y="5002213"/>
            <a:ext cx="4078287" cy="775597"/>
          </a:xfrm>
        </p:spPr>
        <p:txBody>
          <a:bodyPr/>
          <a:lstStyle/>
          <a:p>
            <a:pPr marL="0" indent="0" eaLnBrk="1" hangingPunct="1"/>
            <a:r>
              <a:rPr lang="en-US" altLang="en-US" dirty="0"/>
              <a:t>Prof Gerhard Kling</a:t>
            </a:r>
            <a:br>
              <a:rPr lang="en-US" altLang="en-US" dirty="0"/>
            </a:br>
            <a:r>
              <a:rPr lang="en-US" altLang="en-US" dirty="0"/>
              <a:t>University of Aberdeen</a:t>
            </a:r>
          </a:p>
          <a:p>
            <a:pPr marL="0" indent="0" eaLnBrk="1" hangingPunct="1"/>
            <a:endParaRPr lang="en-US" altLang="en-US" dirty="0"/>
          </a:p>
        </p:txBody>
      </p:sp>
      <p:sp>
        <p:nvSpPr>
          <p:cNvPr id="8196" name="Rectangle 8">
            <a:extLst>
              <a:ext uri="{FF2B5EF4-FFF2-40B4-BE49-F238E27FC236}">
                <a16:creationId xmlns:a16="http://schemas.microsoft.com/office/drawing/2014/main" id="{05890F46-9608-4367-870B-1CB63E9B8158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649788" y="2448779"/>
            <a:ext cx="4122737" cy="1661993"/>
          </a:xfrm>
        </p:spPr>
        <p:txBody>
          <a:bodyPr/>
          <a:lstStyle/>
          <a:p>
            <a:pPr eaLnBrk="1" hangingPunct="1"/>
            <a:r>
              <a:rPr lang="en-GB" altLang="en-US" dirty="0"/>
              <a:t>The discounted cash flow (DCF) model</a:t>
            </a:r>
            <a:endParaRPr lang="en-US" altLang="en-US" sz="2400" i="1" dirty="0"/>
          </a:p>
        </p:txBody>
      </p:sp>
      <p:sp>
        <p:nvSpPr>
          <p:cNvPr id="8197" name="Rectangle 5">
            <a:extLst>
              <a:ext uri="{FF2B5EF4-FFF2-40B4-BE49-F238E27FC236}">
                <a16:creationId xmlns:a16="http://schemas.microsoft.com/office/drawing/2014/main" id="{BDEE4F39-D187-4A4C-8767-4A606ED3449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14825" y="1917700"/>
            <a:ext cx="250825" cy="2644775"/>
          </a:xfrm>
          <a:prstGeom prst="rect">
            <a:avLst/>
          </a:prstGeom>
          <a:solidFill>
            <a:srgbClr val="FFA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Tx/>
              <a:buChar char="•"/>
            </a:pPr>
            <a:endParaRPr lang="en-GB" altLang="en-US"/>
          </a:p>
        </p:txBody>
      </p:sp>
      <p:graphicFrame>
        <p:nvGraphicFramePr>
          <p:cNvPr id="8198" name="Rectangle 6" hidden="1">
            <a:extLst>
              <a:ext uri="{FF2B5EF4-FFF2-40B4-BE49-F238E27FC236}">
                <a16:creationId xmlns:a16="http://schemas.microsoft.com/office/drawing/2014/main" id="{FD2443B5-E447-4CE5-9BD8-59E4E23DB40E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9" name="Rectangle 15">
            <a:extLst>
              <a:ext uri="{FF2B5EF4-FFF2-40B4-BE49-F238E27FC236}">
                <a16:creationId xmlns:a16="http://schemas.microsoft.com/office/drawing/2014/main" id="{8A6D07ED-81E2-4EC8-9768-0B766C8B921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61950" y="723900"/>
            <a:ext cx="3768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tx2"/>
                </a:solidFill>
              </a:rPr>
              <a:t>Unit 3</a:t>
            </a:r>
          </a:p>
        </p:txBody>
      </p:sp>
      <p:pic>
        <p:nvPicPr>
          <p:cNvPr id="8200" name="Picture 18" descr="coins">
            <a:extLst>
              <a:ext uri="{FF2B5EF4-FFF2-40B4-BE49-F238E27FC236}">
                <a16:creationId xmlns:a16="http://schemas.microsoft.com/office/drawing/2014/main" id="{4CC4597E-8F2D-4ED5-82FD-1ABF43701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8150" y="1303338"/>
            <a:ext cx="3044825" cy="4567237"/>
          </a:xfrm>
          <a:prstGeom prst="rect">
            <a:avLst/>
          </a:prstGeom>
          <a:noFill/>
          <a:ln w="28575">
            <a:solidFill>
              <a:schemeClr val="fol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cK Confidential">
            <a:extLst>
              <a:ext uri="{FF2B5EF4-FFF2-40B4-BE49-F238E27FC236}">
                <a16:creationId xmlns:a16="http://schemas.microsoft.com/office/drawing/2014/main" id="{D4CDA41C-1BBC-4C0C-8FDF-F86A26AC8F7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49788" y="1295400"/>
            <a:ext cx="421355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400" b="1" dirty="0">
                <a:solidFill>
                  <a:srgbClr val="676767"/>
                </a:solidFill>
              </a:rPr>
              <a:t>BU7313 Financial Modelling &amp; Scenario Analysis</a:t>
            </a:r>
          </a:p>
        </p:txBody>
      </p:sp>
    </p:spTree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he continuing value formula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19445"/>
            <a:ext cx="7292975" cy="564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Recall from last lecture that FCF=NOPLAT×(1-IR), where IR is the investment rat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n g=ROIC×IR and hence IR=g/ROIC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us FCF=NOPLAT×(1- g/ROIC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Let’s consider that the explicit forecasting period ends at time 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FCF</a:t>
            </a:r>
            <a:r>
              <a:rPr lang="en-GB" altLang="en-US" sz="2000" baseline="-25000" dirty="0"/>
              <a:t>T+1</a:t>
            </a:r>
            <a:r>
              <a:rPr lang="en-GB" altLang="en-US" sz="2000" dirty="0"/>
              <a:t>=NOPLAT</a:t>
            </a:r>
            <a:r>
              <a:rPr lang="en-GB" altLang="en-US" sz="2000" baseline="-25000" dirty="0"/>
              <a:t>T+1</a:t>
            </a:r>
            <a:r>
              <a:rPr lang="en-GB" altLang="en-US" sz="2000" dirty="0"/>
              <a:t>×(1- g/ROIC) assuming growth and ROIC remain constan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What is the value of these future FCF from T+1 to infinity at time T?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FCF</a:t>
            </a:r>
            <a:r>
              <a:rPr lang="en-GB" altLang="en-US" sz="2000" baseline="-25000" dirty="0"/>
              <a:t>T+2</a:t>
            </a:r>
            <a:r>
              <a:rPr lang="en-GB" altLang="en-US" sz="2000" dirty="0"/>
              <a:t>=NOPLAT</a:t>
            </a:r>
            <a:r>
              <a:rPr lang="en-GB" altLang="en-US" sz="2000" baseline="-25000" dirty="0"/>
              <a:t>T+1</a:t>
            </a:r>
            <a:r>
              <a:rPr lang="en-GB" altLang="en-US" sz="2000" dirty="0"/>
              <a:t>×(1- g/ROIC) ×(1+g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FCF in T+2 needs to be discounted by 1/(1+r)</a:t>
            </a:r>
            <a:r>
              <a:rPr lang="en-GB" altLang="en-US" sz="2000" baseline="30000" dirty="0"/>
              <a:t>2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Let’s consider M=</a:t>
            </a:r>
            <a:r>
              <a:rPr lang="en-GB" altLang="en-US" sz="2000" dirty="0">
                <a:latin typeface="Grotesque" panose="020B0504020202020204" pitchFamily="34" charset="0"/>
              </a:rPr>
              <a:t>β+ β</a:t>
            </a:r>
            <a:r>
              <a:rPr lang="en-GB" altLang="en-US" sz="2000" baseline="30000" dirty="0">
                <a:latin typeface="Grotesque" panose="020B0504020202020204" pitchFamily="34" charset="0"/>
              </a:rPr>
              <a:t>2</a:t>
            </a:r>
            <a:r>
              <a:rPr lang="en-GB" altLang="en-US" sz="2000" dirty="0">
                <a:latin typeface="Grotesque" panose="020B0504020202020204" pitchFamily="34" charset="0"/>
              </a:rPr>
              <a:t>+… where β=(1+g)/(1+r)</a:t>
            </a: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988667431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Deriving the continuing value formul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49275" y="919445"/>
                <a:ext cx="7292975" cy="43971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 defTabSz="912813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268288" indent="-2667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Then </a:t>
                </a:r>
                <a:r>
                  <a:rPr lang="en-GB" altLang="en-US" sz="2000" dirty="0">
                    <a:latin typeface="Grotesque" panose="020B0504020202020204" pitchFamily="34" charset="0"/>
                  </a:rPr>
                  <a:t>βM=M-β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Grotesque" panose="020B0504020202020204" pitchFamily="34" charset="0"/>
                  </a:rPr>
                  <a:t>Thus M=β/(1-β)</a:t>
                </a:r>
              </a:p>
              <a:p>
                <a:pPr lvl="1" eaLnBrk="1" hangingPunct="1">
                  <a:spcAft>
                    <a:spcPts val="800"/>
                  </a:spcAft>
                </a:pPr>
                <a14:m>
                  <m:oMath xmlns:m="http://schemas.openxmlformats.org/officeDocument/2006/math"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den>
                        </m:f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1−</m:t>
                        </m:r>
                        <m:f>
                          <m:f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den>
                        </m:f>
                      </m:den>
                    </m:f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f>
                          <m:fPr>
                            <m:ctrlPr>
                              <a:rPr lang="en-GB" alt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den>
                        </m:f>
                      </m:num>
                      <m:den>
                        <m:f>
                          <m:f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</m:den>
                        </m:f>
                      </m:den>
                    </m:f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den>
                    </m:f>
                  </m:oMath>
                </a14:m>
                <a:endParaRPr lang="en-GB" altLang="en-US" sz="2000" dirty="0"/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Hence, we can write the continuing value at T as follows</a:t>
                </a:r>
              </a:p>
              <a:p>
                <a:pPr lvl="1" eaLnBrk="1" hangingPunct="1">
                  <a:spcAft>
                    <a:spcPts val="8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altLang="en-US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𝐶𝑉</m:t>
                        </m:r>
                      </m:e>
                      <m:sub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𝑁𝑂𝑃𝐿𝐴𝑇</m:t>
                        </m:r>
                      </m:e>
                      <m:sub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(1−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𝑅𝑂𝐼𝐶</m:t>
                        </m:r>
                      </m:den>
                    </m:f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)</m:t>
                    </m:r>
                    <m:nary>
                      <m:naryPr>
                        <m:chr m:val="∑"/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∞</m:t>
                        </m:r>
                      </m:sup>
                      <m:e>
                        <m:f>
                          <m:f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(1+</m:t>
                                </m:r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𝑔</m:t>
                                </m:r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  <m:sup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p>
                            </m:sSup>
                          </m:num>
                          <m:den>
                            <m:sSup>
                              <m:sSupPr>
                                <m:ctrlP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(1+</m:t>
                                </m:r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  <m:sup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sup>
                            </m:sSup>
                          </m:den>
                        </m:f>
                      </m:e>
                    </m:nary>
                  </m:oMath>
                </a14:m>
                <a:endParaRPr lang="en-GB" altLang="en-US" sz="2000" dirty="0"/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T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altLang="en-US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𝐶𝑉</m:t>
                        </m:r>
                      </m:e>
                      <m:sub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GB" alt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i="1">
                            <a:latin typeface="Cambria Math" panose="02040503050406030204" pitchFamily="18" charset="0"/>
                          </a:rPr>
                          <m:t>𝑁𝑂𝑃𝐿𝐴𝑇</m:t>
                        </m:r>
                      </m:e>
                      <m:sub>
                        <m:r>
                          <a:rPr lang="en-GB" altLang="en-US" sz="2000" i="1">
                            <a:latin typeface="Cambria Math" panose="02040503050406030204" pitchFamily="18" charset="0"/>
                          </a:rPr>
                          <m:t>𝑇</m:t>
                        </m:r>
                      </m:sub>
                    </m:sSub>
                    <m:d>
                      <m:dPr>
                        <m:ctrlPr>
                          <a:rPr lang="en-GB" altLang="en-US" sz="20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altLang="en-US" sz="2000" i="1">
                            <a:latin typeface="Cambria Math" panose="02040503050406030204" pitchFamily="18" charset="0"/>
                          </a:rPr>
                          <m:t>1−</m:t>
                        </m:r>
                        <m:f>
                          <m:fPr>
                            <m:ctrlPr>
                              <a:rPr lang="en-GB" altLang="en-US" sz="20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𝑅𝑂𝐼𝐶</m:t>
                            </m:r>
                          </m:den>
                        </m:f>
                      </m:e>
                    </m:d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altLang="en-US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𝑁𝑂𝑃𝐿𝐴𝑇</m:t>
                            </m:r>
                          </m:e>
                          <m:sub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d>
                          <m:dPr>
                            <m:ctrlPr>
                              <a:rPr lang="en-GB" altLang="en-US" sz="2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altLang="en-US" sz="2000" i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f>
                              <m:fPr>
                                <m:ctrlPr>
                                  <a:rPr lang="en-GB" altLang="en-US" sz="2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GB" altLang="en-US" sz="2000" i="1">
                                    <a:latin typeface="Cambria Math" panose="02040503050406030204" pitchFamily="18" charset="0"/>
                                  </a:rPr>
                                  <m:t>𝑔</m:t>
                                </m:r>
                              </m:num>
                              <m:den>
                                <m:r>
                                  <a:rPr lang="en-GB" altLang="en-US" sz="2000" i="1">
                                    <a:latin typeface="Cambria Math" panose="02040503050406030204" pitchFamily="18" charset="0"/>
                                  </a:rPr>
                                  <m:t>𝑅𝑂𝐼𝐶</m:t>
                                </m:r>
                              </m:den>
                            </m:f>
                          </m:e>
                        </m:d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den>
                    </m:f>
                  </m:oMath>
                </a14:m>
                <a:endParaRPr lang="en-GB" altLang="en-US" sz="2000" dirty="0"/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To obtain the present value at time zero, the expression needs to be discounted by 1/(1+r)</a:t>
                </a:r>
                <a:r>
                  <a:rPr lang="en-GB" altLang="en-US" sz="2000" baseline="30000" dirty="0"/>
                  <a:t>T</a:t>
                </a:r>
                <a:endParaRPr lang="en-GB" altLang="en-US" sz="2000" dirty="0"/>
              </a:p>
              <a:p>
                <a:pPr lvl="1" eaLnBrk="1" hangingPunct="1">
                  <a:spcAft>
                    <a:spcPts val="800"/>
                  </a:spcAft>
                </a:pPr>
                <a:endParaRPr lang="en-GB" altLang="en-US" sz="2000" dirty="0"/>
              </a:p>
            </p:txBody>
          </p:sp>
        </mc:Choice>
        <mc:Fallback xmlns="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49275" y="919445"/>
                <a:ext cx="7292975" cy="4397166"/>
              </a:xfrm>
              <a:prstGeom prst="rect">
                <a:avLst/>
              </a:prstGeom>
              <a:blipFill>
                <a:blip r:embed="rId5"/>
                <a:stretch>
                  <a:fillRect l="-2007" t="-1942" r="-2759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70374068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Mid-year and monthly adjustment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564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Our discounting approach overstates the value of time as all cash flows are assumed to flow at the end of the discrete time period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 mid-year adjustment assumes that cash flows occur steadily during a year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ence, we multiply the factor (1+r)</a:t>
            </a:r>
            <a:r>
              <a:rPr lang="en-GB" altLang="en-US" sz="2000" baseline="30000" dirty="0"/>
              <a:t>0.5 </a:t>
            </a:r>
            <a:r>
              <a:rPr lang="en-GB" altLang="en-US" sz="2000" dirty="0"/>
              <a:t>to our valuatio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nother issue is to consider the current month for a valuation model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xample: in September 2019 we want to value cash flows that occur from January 2020 to December 2020. We can do the mid-year adjustment to ensure that cash flows occur during the whole year 2020. However, whether we do the valuation in September 2019 or later matters as well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us discount to Jan 2019 then multiply (1+r)</a:t>
            </a:r>
            <a:r>
              <a:rPr lang="en-GB" altLang="en-US" sz="2000" baseline="30000" dirty="0"/>
              <a:t>9/12</a:t>
            </a: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856427598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Number Placeholder 3">
            <a:extLst>
              <a:ext uri="{FF2B5EF4-FFF2-40B4-BE49-F238E27FC236}">
                <a16:creationId xmlns:a16="http://schemas.microsoft.com/office/drawing/2014/main" id="{1AC364D2-5138-4142-8387-2B5F166812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6761EDC-A500-4F19-AB84-D8CE7305207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9155" name="Footer Placeholder 4">
            <a:extLst>
              <a:ext uri="{FF2B5EF4-FFF2-40B4-BE49-F238E27FC236}">
                <a16:creationId xmlns:a16="http://schemas.microsoft.com/office/drawing/2014/main" id="{2C302C7D-AD97-4D84-935F-D2D8F724A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49156" name="Rectangle 2" hidden="1">
            <a:extLst>
              <a:ext uri="{FF2B5EF4-FFF2-40B4-BE49-F238E27FC236}">
                <a16:creationId xmlns:a16="http://schemas.microsoft.com/office/drawing/2014/main" id="{3837A2A4-8CC3-4067-B3A0-C26FBD077A4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3" r:id="rId10" imgW="0" imgH="0" progId="TCLayout.ActiveDocument">
                  <p:embed/>
                </p:oleObj>
              </mc:Choice>
              <mc:Fallback>
                <p:oleObj r:id="rId10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7" name="Rectangle 3">
            <a:extLst>
              <a:ext uri="{FF2B5EF4-FFF2-40B4-BE49-F238E27FC236}">
                <a16:creationId xmlns:a16="http://schemas.microsoft.com/office/drawing/2014/main" id="{1FDAD160-E0B5-4508-A0BF-B83441C6E81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EBD7A4B-567C-43C3-90F8-82B9D63F12F9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7F034E5-08F9-4A9B-9B55-80F91CCC41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07A5CDB1-9578-45E1-9BC1-BF20CE7646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16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The theory of DCF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B03EF8B3-FFB6-4739-B6A6-C03960189FA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tx2"/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3A1FC636-4043-485E-B946-4EEB626890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C800877E-CA83-44A7-9A1A-BEC8C83B15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84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b="1" dirty="0">
                  <a:solidFill>
                    <a:schemeClr val="bg1"/>
                  </a:solidFill>
                  <a:latin typeface="Arial" charset="0"/>
                </a:rPr>
                <a:t>Forecasting free cash flows </a:t>
              </a:r>
            </a:p>
          </p:txBody>
        </p:sp>
      </p:grpSp>
      <p:grpSp>
        <p:nvGrpSpPr>
          <p:cNvPr id="49160" name="Group 7">
            <a:extLst>
              <a:ext uri="{FF2B5EF4-FFF2-40B4-BE49-F238E27FC236}">
                <a16:creationId xmlns:a16="http://schemas.microsoft.com/office/drawing/2014/main" id="{8571C0AF-D683-48F6-A6A8-9A64A8870442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49164" name="Rectangle 8">
              <a:extLst>
                <a:ext uri="{FF2B5EF4-FFF2-40B4-BE49-F238E27FC236}">
                  <a16:creationId xmlns:a16="http://schemas.microsoft.com/office/drawing/2014/main" id="{1D532883-9585-4BEF-8ED4-2614A021EE8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5" name="Rectangle 9">
              <a:extLst>
                <a:ext uri="{FF2B5EF4-FFF2-40B4-BE49-F238E27FC236}">
                  <a16:creationId xmlns:a16="http://schemas.microsoft.com/office/drawing/2014/main" id="{285C4D42-50A2-4BC8-B20F-1DBF1093351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848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Value drivers</a:t>
              </a:r>
            </a:p>
          </p:txBody>
        </p:sp>
      </p:grpSp>
      <p:grpSp>
        <p:nvGrpSpPr>
          <p:cNvPr id="49161" name="Group 10">
            <a:extLst>
              <a:ext uri="{FF2B5EF4-FFF2-40B4-BE49-F238E27FC236}">
                <a16:creationId xmlns:a16="http://schemas.microsoft.com/office/drawing/2014/main" id="{C37DCB2E-C1DD-4B2F-8ABE-23FD1B2C3ED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49162" name="Rectangle 11">
              <a:extLst>
                <a:ext uri="{FF2B5EF4-FFF2-40B4-BE49-F238E27FC236}">
                  <a16:creationId xmlns:a16="http://schemas.microsoft.com/office/drawing/2014/main" id="{B7040404-ABBF-4A3B-B688-849030E9D72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3" name="Rectangle 12">
              <a:extLst>
                <a:ext uri="{FF2B5EF4-FFF2-40B4-BE49-F238E27FC236}">
                  <a16:creationId xmlns:a16="http://schemas.microsoft.com/office/drawing/2014/main" id="{041DD2A8-67B4-458F-B9F3-59A713A31DCE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439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Another look at Kellogg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>
            <a:extLst>
              <a:ext uri="{FF2B5EF4-FFF2-40B4-BE49-F238E27FC236}">
                <a16:creationId xmlns:a16="http://schemas.microsoft.com/office/drawing/2014/main" id="{EFE70D9A-6003-413E-B995-9FBB0E8EA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E4B8C4EC-8A53-4116-8966-CBA5888BF16C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55299" name="Footer Placeholder 4">
            <a:extLst>
              <a:ext uri="{FF2B5EF4-FFF2-40B4-BE49-F238E27FC236}">
                <a16:creationId xmlns:a16="http://schemas.microsoft.com/office/drawing/2014/main" id="{75985154-FA97-4EEC-8781-A869737CE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55300" name="Rectangle 2">
            <a:extLst>
              <a:ext uri="{FF2B5EF4-FFF2-40B4-BE49-F238E27FC236}">
                <a16:creationId xmlns:a16="http://schemas.microsoft.com/office/drawing/2014/main" id="{D1BC9F1D-A65D-4EB8-BC1B-D957D251418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How to forecast cash flows?</a:t>
            </a:r>
          </a:p>
        </p:txBody>
      </p:sp>
      <p:sp>
        <p:nvSpPr>
          <p:cNvPr id="55301" name="Rectangle 3">
            <a:extLst>
              <a:ext uri="{FF2B5EF4-FFF2-40B4-BE49-F238E27FC236}">
                <a16:creationId xmlns:a16="http://schemas.microsoft.com/office/drawing/2014/main" id="{3B6664C7-7159-4915-96C0-68F4D735079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681413"/>
          </a:xfrm>
        </p:spPr>
        <p:txBody>
          <a:bodyPr/>
          <a:lstStyle/>
          <a:p>
            <a:pPr lvl="1" eaLnBrk="1" hangingPunct="1"/>
            <a:r>
              <a:rPr lang="en-GB" altLang="en-US" sz="1800"/>
              <a:t>Forecast revenues (which is easier) and then derive cash flows based on assumptions</a:t>
            </a:r>
          </a:p>
          <a:p>
            <a:pPr lvl="1" eaLnBrk="1" hangingPunct="1"/>
            <a:r>
              <a:rPr lang="en-GB" altLang="en-US" sz="1800"/>
              <a:t>Revenue forecasts depend on the market (mature market, developed country, demand, luxury product) and the state of the company (age, current size, expansion possibilities)</a:t>
            </a:r>
          </a:p>
          <a:p>
            <a:pPr lvl="1" eaLnBrk="1" hangingPunct="1"/>
            <a:r>
              <a:rPr lang="en-GB" altLang="en-US" sz="1800"/>
              <a:t>A small company in a mature market can grow by increasing the number of stores or products</a:t>
            </a:r>
          </a:p>
          <a:p>
            <a:pPr lvl="1" eaLnBrk="1" hangingPunct="1"/>
            <a:r>
              <a:rPr lang="en-GB" altLang="en-US" sz="1800"/>
              <a:t>However, adding more stores has natural limits, and you should expect that growth rates go down to a normal level</a:t>
            </a:r>
          </a:p>
          <a:p>
            <a:pPr lvl="1" eaLnBrk="1" hangingPunct="1"/>
            <a:r>
              <a:rPr lang="en-GB" altLang="en-US" sz="1800"/>
              <a:t>In the long run, a company cannot grow faster than nominal GDP otherwise it would dominate the world</a:t>
            </a:r>
          </a:p>
        </p:txBody>
      </p:sp>
    </p:spTree>
    <p:extLst>
      <p:ext uri="{BB962C8B-B14F-4D97-AF65-F5344CB8AC3E}">
        <p14:creationId xmlns:p14="http://schemas.microsoft.com/office/powerpoint/2010/main" val="4276355597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Forecasting free cash flow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6052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 most used approach is to forecast revenues and based on ratios derive free cash flow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Benefit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Easier to forecast revenues with two drivers: (1) market growth (macroeconomic and demographic trends), (2) increase in market share (depends on competitive advantage, not unlimited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Useful in established industries with stable ROIC and limited growth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isadvantag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Does not permit a link between growth and ROIC, e.g. positive externalities or network effects (see high-growth companies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Too simplistic as ROIC might be cyclical or technological changes might affect business models 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986313043"/>
      </p:ext>
    </p:extLst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Number Placeholder 3">
            <a:extLst>
              <a:ext uri="{FF2B5EF4-FFF2-40B4-BE49-F238E27FC236}">
                <a16:creationId xmlns:a16="http://schemas.microsoft.com/office/drawing/2014/main" id="{DDC745EE-242D-43E7-A9CF-F564D9F514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B26953AB-A7E9-4FBF-9CB0-460958D83233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3731" name="Footer Placeholder 4">
            <a:extLst>
              <a:ext uri="{FF2B5EF4-FFF2-40B4-BE49-F238E27FC236}">
                <a16:creationId xmlns:a16="http://schemas.microsoft.com/office/drawing/2014/main" id="{F1801A6B-0019-4243-B54A-69EA1DDF6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3732" name="Rectangle 2">
            <a:extLst>
              <a:ext uri="{FF2B5EF4-FFF2-40B4-BE49-F238E27FC236}">
                <a16:creationId xmlns:a16="http://schemas.microsoft.com/office/drawing/2014/main" id="{4A8CC46E-241E-4510-9CC4-575022C37EC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Use ratios (assumptions) to link cash flows to revenues</a:t>
            </a:r>
          </a:p>
        </p:txBody>
      </p:sp>
      <p:sp>
        <p:nvSpPr>
          <p:cNvPr id="73733" name="Rectangle 3">
            <a:extLst>
              <a:ext uri="{FF2B5EF4-FFF2-40B4-BE49-F238E27FC236}">
                <a16:creationId xmlns:a16="http://schemas.microsoft.com/office/drawing/2014/main" id="{C44D317C-DF08-4884-8732-F5A6B43A23E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03994" y="895350"/>
            <a:ext cx="8553450" cy="5470525"/>
          </a:xfrm>
        </p:spPr>
        <p:txBody>
          <a:bodyPr/>
          <a:lstStyle/>
          <a:p>
            <a:pPr lvl="1" eaLnBrk="1" hangingPunct="1"/>
            <a:r>
              <a:rPr lang="en-GB" altLang="en-US" dirty="0"/>
              <a:t>(1) Forecast revenues based on expected growth rates (explicit forecasting period based on analysts’ forecasts followed by about 15 years midterm forecasting period and the terminal value)</a:t>
            </a:r>
          </a:p>
          <a:p>
            <a:pPr lvl="1" eaLnBrk="1" hangingPunct="1"/>
            <a:r>
              <a:rPr lang="en-GB" altLang="en-US" dirty="0"/>
              <a:t>(2) Link costs to revenues by assuming constant cost/revenue ratios (based on historical data – use average)</a:t>
            </a:r>
          </a:p>
          <a:p>
            <a:pPr lvl="1" eaLnBrk="1" hangingPunct="1"/>
            <a:r>
              <a:rPr lang="en-GB" altLang="en-US" dirty="0"/>
              <a:t>(3) Determine NOPLAT based on revenue and cost forecasts by applying the statutory tax rate (usually around 35%)</a:t>
            </a:r>
          </a:p>
          <a:p>
            <a:pPr lvl="1" eaLnBrk="1" hangingPunct="1"/>
            <a:r>
              <a:rPr lang="en-GB" altLang="en-US" dirty="0"/>
              <a:t>(4) Link invested capital to revenues by assuming constant revenue/IC ratios (turnover)</a:t>
            </a:r>
          </a:p>
          <a:p>
            <a:pPr lvl="1" eaLnBrk="1" hangingPunct="1"/>
            <a:r>
              <a:rPr lang="en-GB" altLang="en-US" dirty="0"/>
              <a:t>(5) Goodwill and minority interest are assumed to be constant</a:t>
            </a:r>
          </a:p>
          <a:p>
            <a:pPr lvl="1" eaLnBrk="1" hangingPunct="1"/>
            <a:r>
              <a:rPr lang="en-GB" altLang="en-US" dirty="0"/>
              <a:t>(6) Use total debt to balance total assets and total liabilities</a:t>
            </a:r>
          </a:p>
          <a:p>
            <a:pPr lvl="1" eaLnBrk="1" hangingPunct="1"/>
            <a:r>
              <a:rPr lang="en-GB" altLang="en-US" dirty="0"/>
              <a:t>(7) Determine interest expenses by debt in previous period times implied interest rate</a:t>
            </a:r>
          </a:p>
          <a:p>
            <a:pPr lvl="1" eaLnBrk="1" hangingPunct="1"/>
            <a:r>
              <a:rPr lang="en-GB" altLang="en-US" dirty="0"/>
              <a:t>(8) Determine adjusted net income = NOPLAT – interest expense*(1-tax rate) and consider tax shield of interest expense</a:t>
            </a:r>
          </a:p>
          <a:p>
            <a:pPr lvl="1" eaLnBrk="1" hangingPunct="1"/>
            <a:r>
              <a:rPr lang="en-GB" altLang="en-US" dirty="0"/>
              <a:t>(9) Model change in total equity (retained earnings) as previous equity plus current net income (money which goes to shareholders – does not matter whether you assume dividends or accumulation of equity)</a:t>
            </a:r>
          </a:p>
          <a:p>
            <a:pPr lvl="1" eaLnBrk="1" hangingPunct="1"/>
            <a:endParaRPr lang="en-GB" altLang="en-US" dirty="0"/>
          </a:p>
        </p:txBody>
      </p:sp>
    </p:spTree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Forecasting period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821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Short-term forecasts (next three years) are often based on analysts’ reports (consensus forecasts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Mid-term forecasts (another 10-15 years) are based on assumptions and global trend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Global trends include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Demographic transition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opulation aging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istorical analysis is needed to establish likely scenarios which is usually based on three to five years 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If industry exhibits cycles (e.g. steel), then longer periods are needed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244326691"/>
      </p:ext>
    </p:extLst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Kellogg’s growth forecast: No growth scenario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Growth has been limited and is expected to remain low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fter a modest growth period in the short-term, growth remains flat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19FB980-8E6C-43B9-87E5-1E552E9F96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5923146"/>
              </p:ext>
            </p:extLst>
          </p:nvPr>
        </p:nvGraphicFramePr>
        <p:xfrm>
          <a:off x="501894" y="2290448"/>
          <a:ext cx="6440000" cy="3900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93915326"/>
      </p:ext>
    </p:extLst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Predicting debt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ebt is needed to balance the balance sheet; thus, D=</a:t>
            </a:r>
            <a:r>
              <a:rPr lang="en-GB" altLang="en-US" sz="2000" dirty="0" err="1"/>
              <a:t>IC+Goodwill-Equity-Minority</a:t>
            </a:r>
            <a:r>
              <a:rPr lang="en-GB" altLang="en-US" sz="2000" dirty="0"/>
              <a:t> interes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Goodwill and minority interest are usually assumed to remain constan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quity increases with net income, where Net Income=NOPLAT-Interest expense(1-tax rate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We will discuss tax shields later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Check whether predicted debt is sustainable (more later) using financial leverage and interest coverage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894808210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>
            <a:extLst>
              <a:ext uri="{FF2B5EF4-FFF2-40B4-BE49-F238E27FC236}">
                <a16:creationId xmlns:a16="http://schemas.microsoft.com/office/drawing/2014/main" id="{8B295EB4-8059-4E4F-9E7E-6048E0D383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1CBC4EEB-0AA3-4D04-B689-B34EFA7CF7FF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2291" name="Footer Placeholder 4">
            <a:extLst>
              <a:ext uri="{FF2B5EF4-FFF2-40B4-BE49-F238E27FC236}">
                <a16:creationId xmlns:a16="http://schemas.microsoft.com/office/drawing/2014/main" id="{B95C2D1C-D249-466F-938B-C5AC02ACA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2292" name="Rectangle 2" hidden="1">
            <a:extLst>
              <a:ext uri="{FF2B5EF4-FFF2-40B4-BE49-F238E27FC236}">
                <a16:creationId xmlns:a16="http://schemas.microsoft.com/office/drawing/2014/main" id="{2AA11D9F-3C42-4ADC-8AAF-3F41C606E2C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Rectangle 3">
            <a:extLst>
              <a:ext uri="{FF2B5EF4-FFF2-40B4-BE49-F238E27FC236}">
                <a16:creationId xmlns:a16="http://schemas.microsoft.com/office/drawing/2014/main" id="{4332205D-A65B-4F17-BAC8-1487260D7B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eaLnBrk="1" hangingPunct="1"/>
            <a:r>
              <a:rPr lang="en-US" altLang="en-US" dirty="0"/>
              <a:t>AGENDA: Unit 3</a:t>
            </a:r>
          </a:p>
        </p:txBody>
      </p:sp>
      <p:sp>
        <p:nvSpPr>
          <p:cNvPr id="12294" name="Rectangle 5">
            <a:extLst>
              <a:ext uri="{FF2B5EF4-FFF2-40B4-BE49-F238E27FC236}">
                <a16:creationId xmlns:a16="http://schemas.microsoft.com/office/drawing/2014/main" id="{53403C6D-E865-4584-9A29-0F1DFF0F3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4150" y="979488"/>
            <a:ext cx="5373688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00100" indent="-342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The theory of DCF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Free cash flows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The ‘pizza theory’ of corporate finance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Continuing value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Forecasting free cash flows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Growth prediction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Ratios and ROIC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Expected debt</a:t>
            </a:r>
          </a:p>
          <a:p>
            <a:pPr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Value driver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ROIC tree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Types of growth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Another look at Kellogg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Value driver analysi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DCF model</a:t>
            </a:r>
          </a:p>
        </p:txBody>
      </p:sp>
      <p:sp>
        <p:nvSpPr>
          <p:cNvPr id="12295" name="Line 7">
            <a:extLst>
              <a:ext uri="{FF2B5EF4-FFF2-40B4-BE49-F238E27FC236}">
                <a16:creationId xmlns:a16="http://schemas.microsoft.com/office/drawing/2014/main" id="{5E2C48B9-FAFB-464C-89FB-273BA7B2C58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76363" y="915988"/>
            <a:ext cx="57007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96" name="Line 10">
            <a:extLst>
              <a:ext uri="{FF2B5EF4-FFF2-40B4-BE49-F238E27FC236}">
                <a16:creationId xmlns:a16="http://schemas.microsoft.com/office/drawing/2014/main" id="{5D3A228F-5A39-4C43-8016-E43FDE14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08113" y="4863872"/>
            <a:ext cx="56610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Kellogg’s predicted debt will go into cash holding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1436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Negative debt expected (cash holding) due to low growth and high ROIC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5BEEFFE-A41E-4319-8ADE-83DB178885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4970437"/>
              </p:ext>
            </p:extLst>
          </p:nvPr>
        </p:nvGraphicFramePr>
        <p:xfrm>
          <a:off x="549274" y="1888700"/>
          <a:ext cx="7028475" cy="4302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4866429"/>
      </p:ext>
    </p:extLst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Number Placeholder 3">
            <a:extLst>
              <a:ext uri="{FF2B5EF4-FFF2-40B4-BE49-F238E27FC236}">
                <a16:creationId xmlns:a16="http://schemas.microsoft.com/office/drawing/2014/main" id="{72FEE5E2-3FD0-4FBE-B844-39FCD137DF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40C1C77-B6F4-4ACD-A933-8BD479A7A654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1683" name="Footer Placeholder 4">
            <a:extLst>
              <a:ext uri="{FF2B5EF4-FFF2-40B4-BE49-F238E27FC236}">
                <a16:creationId xmlns:a16="http://schemas.microsoft.com/office/drawing/2014/main" id="{DECDBB14-2894-41E2-BC02-E45FF4BCF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71684" name="Rectangle 2" hidden="1">
            <a:extLst>
              <a:ext uri="{FF2B5EF4-FFF2-40B4-BE49-F238E27FC236}">
                <a16:creationId xmlns:a16="http://schemas.microsoft.com/office/drawing/2014/main" id="{8BAEF1DC-119D-4BEB-815D-1D3898D34D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9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685" name="Rectangle 3">
            <a:extLst>
              <a:ext uri="{FF2B5EF4-FFF2-40B4-BE49-F238E27FC236}">
                <a16:creationId xmlns:a16="http://schemas.microsoft.com/office/drawing/2014/main" id="{570DB1CC-62E2-416B-8A16-10E3EB493F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CC1AD869-5680-44FF-A7B8-77D12B4AC701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3FA9ACF-1CA3-40AE-BCC4-A9D6A792B0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7EBEE5DC-DDC0-4F29-90BA-41605298DDE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16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The theory of DCF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DAC7B5E8-B916-4A11-BC0F-23642E8A6BD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65DB2E98-D830-41D5-9571-F2E0E58E82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9FF99B5C-1D18-4472-AE14-4979E08D799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67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Forecasting free cash flows</a:t>
              </a:r>
            </a:p>
          </p:txBody>
        </p:sp>
      </p:grpSp>
      <p:grpSp>
        <p:nvGrpSpPr>
          <p:cNvPr id="69640" name="Group 7">
            <a:extLst>
              <a:ext uri="{FF2B5EF4-FFF2-40B4-BE49-F238E27FC236}">
                <a16:creationId xmlns:a16="http://schemas.microsoft.com/office/drawing/2014/main" id="{D11ADF80-69EC-4493-825F-887EE5B6B0B6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  <a:solidFill>
            <a:srgbClr val="002060"/>
          </a:solidFill>
        </p:grpSpPr>
        <p:sp>
          <p:nvSpPr>
            <p:cNvPr id="69644" name="Rectangle 8">
              <a:extLst>
                <a:ext uri="{FF2B5EF4-FFF2-40B4-BE49-F238E27FC236}">
                  <a16:creationId xmlns:a16="http://schemas.microsoft.com/office/drawing/2014/main" id="{C338C566-440E-44AA-A8ED-D05807F09D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69645" name="Rectangle 9">
              <a:extLst>
                <a:ext uri="{FF2B5EF4-FFF2-40B4-BE49-F238E27FC236}">
                  <a16:creationId xmlns:a16="http://schemas.microsoft.com/office/drawing/2014/main" id="{011F690B-AD83-4C14-A80E-2BE0714B14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909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Value drivers</a:t>
              </a:r>
            </a:p>
          </p:txBody>
        </p:sp>
      </p:grpSp>
      <p:grpSp>
        <p:nvGrpSpPr>
          <p:cNvPr id="71689" name="Group 10">
            <a:extLst>
              <a:ext uri="{FF2B5EF4-FFF2-40B4-BE49-F238E27FC236}">
                <a16:creationId xmlns:a16="http://schemas.microsoft.com/office/drawing/2014/main" id="{092342F0-A551-4DF6-8B04-DDA4D637414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71690" name="Rectangle 11">
              <a:extLst>
                <a:ext uri="{FF2B5EF4-FFF2-40B4-BE49-F238E27FC236}">
                  <a16:creationId xmlns:a16="http://schemas.microsoft.com/office/drawing/2014/main" id="{13F28908-B904-4FD3-8406-F3A36B17D31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71691" name="Rectangle 12">
              <a:extLst>
                <a:ext uri="{FF2B5EF4-FFF2-40B4-BE49-F238E27FC236}">
                  <a16:creationId xmlns:a16="http://schemas.microsoft.com/office/drawing/2014/main" id="{57955B37-0A4E-4445-950C-EB0EE9F0463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439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Another look at Kellogg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Value drivers: growth and ROIC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533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We can express free cash flows in terms of growth and ROIC, i.e. two value drivers can explain firms’ valu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Usually we assume that growth and ROIC are independent (not correlated) which is often a good approximation (see Kellogg’s case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owever, if economies of scale are at play, growth does affect cos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conomies of scale emerge if costs can be written as a fixed cost component (F) and variable costs that change with output X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xample: Costs=</a:t>
            </a:r>
            <a:r>
              <a:rPr lang="en-GB" altLang="en-US" sz="2000" dirty="0" err="1"/>
              <a:t>F+aX</a:t>
            </a:r>
            <a:r>
              <a:rPr lang="en-GB" altLang="en-US" sz="2000" dirty="0"/>
              <a:t> with a&gt;0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n average costs refer to Costs/X=F/</a:t>
            </a:r>
            <a:r>
              <a:rPr lang="en-GB" altLang="en-US" sz="2000" dirty="0" err="1"/>
              <a:t>X+a</a:t>
            </a: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ence, higher output permits distributing fixed costs lowering average costs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85637785"/>
      </p:ext>
    </p:extLst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Slide Number Placeholder 3">
            <a:extLst>
              <a:ext uri="{FF2B5EF4-FFF2-40B4-BE49-F238E27FC236}">
                <a16:creationId xmlns:a16="http://schemas.microsoft.com/office/drawing/2014/main" id="{45E27AD7-2C52-4D5B-B17E-C264DAE536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18E1825-6576-447C-8576-3D1B362FF34A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034" name="Footer Placeholder 4">
            <a:extLst>
              <a:ext uri="{FF2B5EF4-FFF2-40B4-BE49-F238E27FC236}">
                <a16:creationId xmlns:a16="http://schemas.microsoft.com/office/drawing/2014/main" id="{E8CEDB93-2FCE-4FD8-8F5E-575152425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1035" name="Rectangle 2">
            <a:extLst>
              <a:ext uri="{FF2B5EF4-FFF2-40B4-BE49-F238E27FC236}">
                <a16:creationId xmlns:a16="http://schemas.microsoft.com/office/drawing/2014/main" id="{0EC78A69-4A81-4B56-8E67-5EC90CAEB05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Growth and ROIC are the two value driver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3DD29ED-C408-4BF5-929C-2FC99D46E4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4561930"/>
              </p:ext>
            </p:extLst>
          </p:nvPr>
        </p:nvGraphicFramePr>
        <p:xfrm>
          <a:off x="176213" y="1273175"/>
          <a:ext cx="7473965" cy="222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36" name="Text Box 13">
            <a:extLst>
              <a:ext uri="{FF2B5EF4-FFF2-40B4-BE49-F238E27FC236}">
                <a16:creationId xmlns:a16="http://schemas.microsoft.com/office/drawing/2014/main" id="{3BB705CC-8ED5-4C6F-9C89-E44D008A122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42050" y="3498850"/>
            <a:ext cx="160337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 sz="1800"/>
              <a:t>ROIC has to exceed WACC</a:t>
            </a:r>
          </a:p>
        </p:txBody>
      </p:sp>
      <p:sp>
        <p:nvSpPr>
          <p:cNvPr id="1037" name="Text Box 14">
            <a:extLst>
              <a:ext uri="{FF2B5EF4-FFF2-40B4-BE49-F238E27FC236}">
                <a16:creationId xmlns:a16="http://schemas.microsoft.com/office/drawing/2014/main" id="{6411AA72-F8EE-4447-8A3A-8BD7D99B673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62013" y="3459163"/>
            <a:ext cx="2027237" cy="195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</a:pPr>
            <a:r>
              <a:rPr lang="en-GB" altLang="en-US"/>
              <a:t>Different ways to grow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  <a:buFontTx/>
              <a:buAutoNum type="arabicParenBoth"/>
            </a:pPr>
            <a:r>
              <a:rPr lang="en-GB" altLang="en-US"/>
              <a:t>Organic growth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  <a:buFontTx/>
              <a:buAutoNum type="arabicParenBoth"/>
            </a:pPr>
            <a:r>
              <a:rPr lang="en-GB" altLang="en-US"/>
              <a:t>M&amp;A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  <a:buFontTx/>
              <a:buAutoNum type="arabicParenBoth"/>
            </a:pPr>
            <a:r>
              <a:rPr lang="en-GB" altLang="en-US"/>
              <a:t>Market entry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SzTx/>
              <a:buFontTx/>
              <a:buAutoNum type="arabicParenBoth"/>
            </a:pPr>
            <a:r>
              <a:rPr lang="en-GB" altLang="en-US"/>
              <a:t>Exchange rate effect</a:t>
            </a:r>
          </a:p>
        </p:txBody>
      </p:sp>
    </p:spTree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Number Placeholder 3">
            <a:extLst>
              <a:ext uri="{FF2B5EF4-FFF2-40B4-BE49-F238E27FC236}">
                <a16:creationId xmlns:a16="http://schemas.microsoft.com/office/drawing/2014/main" id="{53400775-ED57-4C6B-BCA0-55A0327842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D0C7BB21-1440-45A0-83AA-F73C88946B4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52227" name="Footer Placeholder 4">
            <a:extLst>
              <a:ext uri="{FF2B5EF4-FFF2-40B4-BE49-F238E27FC236}">
                <a16:creationId xmlns:a16="http://schemas.microsoft.com/office/drawing/2014/main" id="{53A7E8A8-45D0-4812-812E-99EE3F7CD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52228" name="Rectangle 2">
            <a:extLst>
              <a:ext uri="{FF2B5EF4-FFF2-40B4-BE49-F238E27FC236}">
                <a16:creationId xmlns:a16="http://schemas.microsoft.com/office/drawing/2014/main" id="{2BF23BC9-EB40-49DE-A1DC-2F15B320747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The right combination matters</a:t>
            </a:r>
          </a:p>
        </p:txBody>
      </p:sp>
      <p:graphicFrame>
        <p:nvGraphicFramePr>
          <p:cNvPr id="1530326" name="Group 470">
            <a:extLst>
              <a:ext uri="{FF2B5EF4-FFF2-40B4-BE49-F238E27FC236}">
                <a16:creationId xmlns:a16="http://schemas.microsoft.com/office/drawing/2014/main" id="{E4534D8E-3587-4033-A7A6-20C0ABC74E8C}"/>
              </a:ext>
            </a:extLst>
          </p:cNvPr>
          <p:cNvGraphicFramePr>
            <a:graphicFrameLocks noGrp="1"/>
          </p:cNvGraphicFramePr>
          <p:nvPr/>
        </p:nvGraphicFramePr>
        <p:xfrm>
          <a:off x="461963" y="1103313"/>
          <a:ext cx="7762875" cy="5091118"/>
        </p:xfrm>
        <a:graphic>
          <a:graphicData uri="http://schemas.openxmlformats.org/drawingml/2006/table">
            <a:tbl>
              <a:tblPr/>
              <a:tblGrid>
                <a:gridCol w="909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96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96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96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37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68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35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607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143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0963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66713"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9088"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7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th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300"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IC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1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9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5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2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3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0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5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80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1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7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7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7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8300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9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43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00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1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99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8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45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23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39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60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9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51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52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72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1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32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57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84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12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6713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83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55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66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19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5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8300"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45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78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75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56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06 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6713"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6713"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defTabSz="895350" eaLnBrk="0" hangingPunct="0">
                        <a:spcAft>
                          <a:spcPct val="60000"/>
                        </a:spcAft>
                        <a:buSzPct val="12000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895350" eaLnBrk="0" hangingPunct="0"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0"/>
                        </a:spcBef>
                        <a:spcAft>
                          <a:spcPct val="60000"/>
                        </a:spcAft>
                        <a:buClr>
                          <a:schemeClr val="tx2"/>
                        </a:buClr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6000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Slide Number Placeholder 3">
            <a:extLst>
              <a:ext uri="{FF2B5EF4-FFF2-40B4-BE49-F238E27FC236}">
                <a16:creationId xmlns:a16="http://schemas.microsoft.com/office/drawing/2014/main" id="{26A89123-C268-43C7-BF4B-2125D38698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451E05C4-EF6E-4030-B8A5-DF82ACE95AC5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72" name="Footer Placeholder 4">
            <a:extLst>
              <a:ext uri="{FF2B5EF4-FFF2-40B4-BE49-F238E27FC236}">
                <a16:creationId xmlns:a16="http://schemas.microsoft.com/office/drawing/2014/main" id="{FAB613BF-0D1A-4102-8B2A-E2829DA05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73" name="Rectangle 2">
            <a:extLst>
              <a:ext uri="{FF2B5EF4-FFF2-40B4-BE49-F238E27FC236}">
                <a16:creationId xmlns:a16="http://schemas.microsoft.com/office/drawing/2014/main" id="{2FE1E4F8-F2CF-47C4-AF68-26A65CC85F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ROIC trees are a useful tool to analyse profitability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716CB16C-4BE5-4577-B908-ADAF706F476E}"/>
              </a:ext>
            </a:extLst>
          </p:cNvPr>
          <p:cNvGraphicFramePr/>
          <p:nvPr/>
        </p:nvGraphicFramePr>
        <p:xfrm>
          <a:off x="176213" y="1273175"/>
          <a:ext cx="8785225" cy="30241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Number Placeholder 3">
            <a:extLst>
              <a:ext uri="{FF2B5EF4-FFF2-40B4-BE49-F238E27FC236}">
                <a16:creationId xmlns:a16="http://schemas.microsoft.com/office/drawing/2014/main" id="{15E3C9F6-F2DF-4F64-87AE-4D80239096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FB355ABF-5384-40D8-AE3C-B8A3809E6A5C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57347" name="Footer Placeholder 4">
            <a:extLst>
              <a:ext uri="{FF2B5EF4-FFF2-40B4-BE49-F238E27FC236}">
                <a16:creationId xmlns:a16="http://schemas.microsoft.com/office/drawing/2014/main" id="{64A67474-5D09-4517-B98E-A782AA1F3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57348" name="Rectangle 2">
            <a:extLst>
              <a:ext uri="{FF2B5EF4-FFF2-40B4-BE49-F238E27FC236}">
                <a16:creationId xmlns:a16="http://schemas.microsoft.com/office/drawing/2014/main" id="{D4611A76-E13D-4BAE-9753-7FBEF495F5C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Understanding good and bad growth</a:t>
            </a:r>
          </a:p>
        </p:txBody>
      </p:sp>
      <p:sp>
        <p:nvSpPr>
          <p:cNvPr id="57349" name="Rectangle 3">
            <a:extLst>
              <a:ext uri="{FF2B5EF4-FFF2-40B4-BE49-F238E27FC236}">
                <a16:creationId xmlns:a16="http://schemas.microsoft.com/office/drawing/2014/main" id="{84F5AD58-0C58-425A-854F-365F874CE75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2930525"/>
          </a:xfrm>
        </p:spPr>
        <p:txBody>
          <a:bodyPr/>
          <a:lstStyle/>
          <a:p>
            <a:pPr lvl="1" eaLnBrk="1" hangingPunct="1"/>
            <a:r>
              <a:rPr lang="en-GB" altLang="en-US"/>
              <a:t>Revenue growth figures might look impressive / but growth does not mean value creation</a:t>
            </a:r>
          </a:p>
          <a:p>
            <a:pPr lvl="1" eaLnBrk="1" hangingPunct="1"/>
            <a:r>
              <a:rPr lang="en-GB" altLang="en-US"/>
              <a:t>It is essential that profitability (ROIC) exceeds cost of capital (WACC) otherwise more growth will burn more money</a:t>
            </a:r>
          </a:p>
          <a:p>
            <a:pPr lvl="1" eaLnBrk="1" hangingPunct="1"/>
            <a:r>
              <a:rPr lang="en-GB" altLang="en-US"/>
              <a:t>How to detect good and bad growth strategies?</a:t>
            </a:r>
          </a:p>
          <a:p>
            <a:pPr lvl="2" eaLnBrk="1" hangingPunct="1"/>
            <a:r>
              <a:rPr lang="en-GB" altLang="en-US"/>
              <a:t>Look at simple ratios like revenues per employee or revenues per store etc.</a:t>
            </a:r>
          </a:p>
          <a:p>
            <a:pPr lvl="2" eaLnBrk="1" hangingPunct="1"/>
            <a:r>
              <a:rPr lang="en-GB" altLang="en-US"/>
              <a:t>Ratios tell you something about the efficiency (growth can be driven by efficiency gains or by adding more stores)</a:t>
            </a:r>
          </a:p>
          <a:p>
            <a:pPr lvl="2" eaLnBrk="1" hangingPunct="1"/>
            <a:r>
              <a:rPr lang="en-GB" altLang="en-US"/>
              <a:t>Adding more store (points of sale) might increase revenues – but might reduce profitability and increase maintenance costs in future</a:t>
            </a:r>
          </a:p>
        </p:txBody>
      </p:sp>
    </p:spTree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Number Placeholder 2">
            <a:extLst>
              <a:ext uri="{FF2B5EF4-FFF2-40B4-BE49-F238E27FC236}">
                <a16:creationId xmlns:a16="http://schemas.microsoft.com/office/drawing/2014/main" id="{82640193-6B9D-491D-B7CC-23A8A639C7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2674FE2D-6006-4720-9745-7EB3BE904CB9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59395" name="Footer Placeholder 3">
            <a:extLst>
              <a:ext uri="{FF2B5EF4-FFF2-40B4-BE49-F238E27FC236}">
                <a16:creationId xmlns:a16="http://schemas.microsoft.com/office/drawing/2014/main" id="{2F38B0BC-FAF3-43A5-AF0F-516CCCF62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59396" name="Rectangle 3">
            <a:extLst>
              <a:ext uri="{FF2B5EF4-FFF2-40B4-BE49-F238E27FC236}">
                <a16:creationId xmlns:a16="http://schemas.microsoft.com/office/drawing/2014/main" id="{48C9084C-9E9E-47EE-B496-A1A9104B914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7800" y="2055813"/>
            <a:ext cx="4165600" cy="3540125"/>
          </a:xfrm>
          <a:prstGeom prst="rect">
            <a:avLst/>
          </a:prstGeom>
          <a:solidFill>
            <a:srgbClr val="F5F0E3"/>
          </a:solidFill>
          <a:ln w="19050" algn="ctr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59397" name="McK Measure">
            <a:extLst>
              <a:ext uri="{FF2B5EF4-FFF2-40B4-BE49-F238E27FC236}">
                <a16:creationId xmlns:a16="http://schemas.microsoft.com/office/drawing/2014/main" id="{D85D8605-521A-4BBD-A52B-F1C78402098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9063" y="1087438"/>
            <a:ext cx="21129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b="1">
                <a:latin typeface="Century Gothic" panose="020B0502020202020204" pitchFamily="34" charset="0"/>
              </a:rPr>
              <a:t>Revenue growth 2003</a:t>
            </a:r>
          </a:p>
        </p:txBody>
      </p:sp>
      <p:sp>
        <p:nvSpPr>
          <p:cNvPr id="59398" name="McK Measure">
            <a:extLst>
              <a:ext uri="{FF2B5EF4-FFF2-40B4-BE49-F238E27FC236}">
                <a16:creationId xmlns:a16="http://schemas.microsoft.com/office/drawing/2014/main" id="{4AF69B70-7CDD-44A5-815B-9F66F8898AE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30200" y="4938713"/>
            <a:ext cx="101282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As reported</a:t>
            </a:r>
          </a:p>
        </p:txBody>
      </p:sp>
      <p:sp>
        <p:nvSpPr>
          <p:cNvPr id="59399" name="McK Measure">
            <a:extLst>
              <a:ext uri="{FF2B5EF4-FFF2-40B4-BE49-F238E27FC236}">
                <a16:creationId xmlns:a16="http://schemas.microsoft.com/office/drawing/2014/main" id="{D6C77CC1-A7D1-4A01-B025-601E236F5D2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47800" y="4938713"/>
            <a:ext cx="50958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Net </a:t>
            </a:r>
          </a:p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M&amp;A</a:t>
            </a:r>
          </a:p>
        </p:txBody>
      </p:sp>
      <p:sp>
        <p:nvSpPr>
          <p:cNvPr id="59400" name="McK Measure">
            <a:extLst>
              <a:ext uri="{FF2B5EF4-FFF2-40B4-BE49-F238E27FC236}">
                <a16:creationId xmlns:a16="http://schemas.microsoft.com/office/drawing/2014/main" id="{89F55F1B-A427-4600-949D-1899F0E31BB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225675" y="4938713"/>
            <a:ext cx="9080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Currency</a:t>
            </a:r>
          </a:p>
        </p:txBody>
      </p:sp>
      <p:sp>
        <p:nvSpPr>
          <p:cNvPr id="59401" name="McK Measure">
            <a:extLst>
              <a:ext uri="{FF2B5EF4-FFF2-40B4-BE49-F238E27FC236}">
                <a16:creationId xmlns:a16="http://schemas.microsoft.com/office/drawing/2014/main" id="{46386070-E6A9-4B87-84A3-ED8B0E799E2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384550" y="4938713"/>
            <a:ext cx="8096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Organic</a:t>
            </a:r>
          </a:p>
        </p:txBody>
      </p:sp>
      <p:sp>
        <p:nvSpPr>
          <p:cNvPr id="59402" name="Lines 14">
            <a:extLst>
              <a:ext uri="{FF2B5EF4-FFF2-40B4-BE49-F238E27FC236}">
                <a16:creationId xmlns:a16="http://schemas.microsoft.com/office/drawing/2014/main" id="{7DC5C300-708B-4528-A42E-0BD55A46DFC0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1076325" y="2733675"/>
            <a:ext cx="292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403" name="Lines 15">
            <a:extLst>
              <a:ext uri="{FF2B5EF4-FFF2-40B4-BE49-F238E27FC236}">
                <a16:creationId xmlns:a16="http://schemas.microsoft.com/office/drawing/2014/main" id="{CCD77AF1-B2B4-4BE8-A955-A25C08CFDBE9}"/>
              </a:ext>
            </a:extLst>
          </p:cNvPr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054225" y="2987675"/>
            <a:ext cx="292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404" name="Lines 16">
            <a:extLst>
              <a:ext uri="{FF2B5EF4-FFF2-40B4-BE49-F238E27FC236}">
                <a16:creationId xmlns:a16="http://schemas.microsoft.com/office/drawing/2014/main" id="{5E9B9780-2332-4D53-AD8E-6D84C13A0444}"/>
              </a:ext>
            </a:extLst>
          </p:cNvPr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3024188" y="4244975"/>
            <a:ext cx="292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405" name="Rectangle 14">
            <a:extLst>
              <a:ext uri="{FF2B5EF4-FFF2-40B4-BE49-F238E27FC236}">
                <a16:creationId xmlns:a16="http://schemas.microsoft.com/office/drawing/2014/main" id="{672E7ACF-C99D-415F-94E2-6F541C2532B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508500" y="2055813"/>
            <a:ext cx="4165600" cy="3540125"/>
          </a:xfrm>
          <a:prstGeom prst="rect">
            <a:avLst/>
          </a:prstGeom>
          <a:solidFill>
            <a:srgbClr val="F5F0E3"/>
          </a:solidFill>
          <a:ln w="19050" algn="ctr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graphicFrame>
        <p:nvGraphicFramePr>
          <p:cNvPr id="59406" name="Object 15">
            <a:extLst>
              <a:ext uri="{FF2B5EF4-FFF2-40B4-BE49-F238E27FC236}">
                <a16:creationId xmlns:a16="http://schemas.microsoft.com/office/drawing/2014/main" id="{A188028D-3694-45E4-8367-E9DE226E247A}"/>
              </a:ext>
            </a:extLst>
          </p:cNvPr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4527550" y="2038350"/>
          <a:ext cx="4021138" cy="284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4" name="Chart" r:id="rId26" imgW="4086225" imgH="2886075" progId="MSGraph.Chart.8">
                  <p:embed followColorScheme="full"/>
                </p:oleObj>
              </mc:Choice>
              <mc:Fallback>
                <p:oleObj name="Chart" r:id="rId26" imgW="4086225" imgH="2886075" progId="MSGraph.Chart.8">
                  <p:embed followColorScheme="full"/>
                  <p:pic>
                    <p:nvPicPr>
                      <p:cNvPr id="59406" name="Object 15">
                        <a:extLst>
                          <a:ext uri="{FF2B5EF4-FFF2-40B4-BE49-F238E27FC236}">
                            <a16:creationId xmlns:a16="http://schemas.microsoft.com/office/drawing/2014/main" id="{A188028D-3694-45E4-8367-E9DE226E247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527550" y="2038350"/>
                        <a:ext cx="4021138" cy="284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407" name="McK Measure">
            <a:extLst>
              <a:ext uri="{FF2B5EF4-FFF2-40B4-BE49-F238E27FC236}">
                <a16:creationId xmlns:a16="http://schemas.microsoft.com/office/drawing/2014/main" id="{8D1C3AAB-3B5F-45B6-8784-E60633F87E5E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811838" y="4938713"/>
            <a:ext cx="62071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Net </a:t>
            </a:r>
          </a:p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M&amp;A</a:t>
            </a:r>
          </a:p>
        </p:txBody>
      </p:sp>
      <p:sp>
        <p:nvSpPr>
          <p:cNvPr id="59408" name="McK Measure">
            <a:extLst>
              <a:ext uri="{FF2B5EF4-FFF2-40B4-BE49-F238E27FC236}">
                <a16:creationId xmlns:a16="http://schemas.microsoft.com/office/drawing/2014/main" id="{F9CC6B37-72F3-4168-B963-722FEDC238A8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729538" y="4938713"/>
            <a:ext cx="8096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Organic</a:t>
            </a:r>
          </a:p>
        </p:txBody>
      </p:sp>
      <p:sp>
        <p:nvSpPr>
          <p:cNvPr id="59409" name="Rectangle 18">
            <a:extLst>
              <a:ext uri="{FF2B5EF4-FFF2-40B4-BE49-F238E27FC236}">
                <a16:creationId xmlns:a16="http://schemas.microsoft.com/office/drawing/2014/main" id="{BB0E32AF-784D-4D2E-ABA5-98120F1E1A0C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689725" y="2860675"/>
            <a:ext cx="661988" cy="825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59410" name="Lines 25">
            <a:extLst>
              <a:ext uri="{FF2B5EF4-FFF2-40B4-BE49-F238E27FC236}">
                <a16:creationId xmlns:a16="http://schemas.microsoft.com/office/drawing/2014/main" id="{3B11401A-96B5-426E-848D-49B6C4E8E928}"/>
              </a:ext>
            </a:extLst>
          </p:cNvPr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5410200" y="4021138"/>
            <a:ext cx="292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411" name="Lines 26">
            <a:extLst>
              <a:ext uri="{FF2B5EF4-FFF2-40B4-BE49-F238E27FC236}">
                <a16:creationId xmlns:a16="http://schemas.microsoft.com/office/drawing/2014/main" id="{985A489E-8C5F-4BFF-A01F-3810B94B6DE2}"/>
              </a:ext>
            </a:extLst>
          </p:cNvPr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6392863" y="4276725"/>
            <a:ext cx="2905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412" name="Lines 27">
            <a:extLst>
              <a:ext uri="{FF2B5EF4-FFF2-40B4-BE49-F238E27FC236}">
                <a16:creationId xmlns:a16="http://schemas.microsoft.com/office/drawing/2014/main" id="{8F95F8F5-C156-4778-85E0-1B7416F60920}"/>
              </a:ext>
            </a:extLst>
          </p:cNvPr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7366000" y="2641600"/>
            <a:ext cx="2936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9413" name="McK Measure">
            <a:extLst>
              <a:ext uri="{FF2B5EF4-FFF2-40B4-BE49-F238E27FC236}">
                <a16:creationId xmlns:a16="http://schemas.microsoft.com/office/drawing/2014/main" id="{89A81AE9-4883-4D16-A5FF-6D7E4A4E8B24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618038" y="4938713"/>
            <a:ext cx="101282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As reported</a:t>
            </a:r>
          </a:p>
        </p:txBody>
      </p:sp>
      <p:sp>
        <p:nvSpPr>
          <p:cNvPr id="59414" name="McK Measure">
            <a:extLst>
              <a:ext uri="{FF2B5EF4-FFF2-40B4-BE49-F238E27FC236}">
                <a16:creationId xmlns:a16="http://schemas.microsoft.com/office/drawing/2014/main" id="{8CAA735B-8773-472A-8AE9-CDCAE72D6F5F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654800" y="4938713"/>
            <a:ext cx="9080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>
                <a:latin typeface="Century Gothic" panose="020B0502020202020204" pitchFamily="34" charset="0"/>
              </a:rPr>
              <a:t>Currency</a:t>
            </a:r>
          </a:p>
        </p:txBody>
      </p:sp>
      <p:graphicFrame>
        <p:nvGraphicFramePr>
          <p:cNvPr id="59415" name="Object 25">
            <a:extLst>
              <a:ext uri="{FF2B5EF4-FFF2-40B4-BE49-F238E27FC236}">
                <a16:creationId xmlns:a16="http://schemas.microsoft.com/office/drawing/2014/main" id="{1CFA9320-C307-426C-A970-E81693528B2C}"/>
              </a:ext>
            </a:extLst>
          </p:cNvPr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195263" y="2006600"/>
          <a:ext cx="4002087" cy="284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5" name="Chart" r:id="rId28" imgW="4067175" imgH="2886075" progId="MSGraph.Chart.8">
                  <p:embed followColorScheme="full"/>
                </p:oleObj>
              </mc:Choice>
              <mc:Fallback>
                <p:oleObj name="Chart" r:id="rId28" imgW="4067175" imgH="2886075" progId="MSGraph.Chart.8">
                  <p:embed followColorScheme="full"/>
                  <p:pic>
                    <p:nvPicPr>
                      <p:cNvPr id="59415" name="Object 25">
                        <a:extLst>
                          <a:ext uri="{FF2B5EF4-FFF2-40B4-BE49-F238E27FC236}">
                            <a16:creationId xmlns:a16="http://schemas.microsoft.com/office/drawing/2014/main" id="{1CFA9320-C307-426C-A970-E81693528B2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2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95263" y="2006600"/>
                        <a:ext cx="4002087" cy="284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416" name="Picture 26" descr="coca-cola-logo-bubbles-4100434">
            <a:extLst>
              <a:ext uri="{FF2B5EF4-FFF2-40B4-BE49-F238E27FC236}">
                <a16:creationId xmlns:a16="http://schemas.microsoft.com/office/drawing/2014/main" id="{81618AC1-00AD-40ED-AAB3-C0E1C1B65A1C}"/>
              </a:ext>
            </a:extLst>
          </p:cNvPr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9863" y="1790700"/>
            <a:ext cx="13366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9417" name="Rectangle 27" hidden="1">
            <a:extLst>
              <a:ext uri="{FF2B5EF4-FFF2-40B4-BE49-F238E27FC236}">
                <a16:creationId xmlns:a16="http://schemas.microsoft.com/office/drawing/2014/main" id="{942BC50F-47C5-488D-97D1-1DE6F5CD330D}"/>
              </a:ext>
            </a:extLst>
          </p:cNvPr>
          <p:cNvGraphicFramePr>
            <a:graphicFrameLocks/>
          </p:cNvGraphicFramePr>
          <p:nvPr>
            <p:custDataLst>
              <p:tags r:id="rId2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6" r:id="rId31" imgW="0" imgH="0" progId="TCLayout.ActiveDocument">
                  <p:embed/>
                </p:oleObj>
              </mc:Choice>
              <mc:Fallback>
                <p:oleObj r:id="rId31" imgW="0" imgH="0" progId="TCLayout.ActiveDocument">
                  <p:embed/>
                  <p:pic>
                    <p:nvPicPr>
                      <p:cNvPr id="59417" name="Rectangle 27" hidden="1">
                        <a:extLst>
                          <a:ext uri="{FF2B5EF4-FFF2-40B4-BE49-F238E27FC236}">
                            <a16:creationId xmlns:a16="http://schemas.microsoft.com/office/drawing/2014/main" id="{942BC50F-47C5-488D-97D1-1DE6F5CD330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418" name="Picture 28">
            <a:extLst>
              <a:ext uri="{FF2B5EF4-FFF2-40B4-BE49-F238E27FC236}">
                <a16:creationId xmlns:a16="http://schemas.microsoft.com/office/drawing/2014/main" id="{F84D8F39-8752-4822-AD9B-0325B5F3B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8" t="7692" r="5458" b="14423"/>
          <a:stretch>
            <a:fillRect/>
          </a:stretch>
        </p:blipFill>
        <p:spPr bwMode="gray">
          <a:xfrm>
            <a:off x="4497388" y="1792288"/>
            <a:ext cx="188595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419" name="Rectangle 29">
            <a:extLst>
              <a:ext uri="{FF2B5EF4-FFF2-40B4-BE49-F238E27FC236}">
                <a16:creationId xmlns:a16="http://schemas.microsoft.com/office/drawing/2014/main" id="{CBC77D80-3EEA-436F-BBBE-7C929B61C20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Growth might be affected by M&amp;A and currency effects</a:t>
            </a:r>
          </a:p>
        </p:txBody>
      </p:sp>
    </p:spTree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Number Placeholder 3">
            <a:extLst>
              <a:ext uri="{FF2B5EF4-FFF2-40B4-BE49-F238E27FC236}">
                <a16:creationId xmlns:a16="http://schemas.microsoft.com/office/drawing/2014/main" id="{119C6CF2-2026-478C-9BA3-2098B8A2F3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35E8D0FE-66A7-4881-B317-11006B855F5A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92163" name="Footer Placeholder 4">
            <a:extLst>
              <a:ext uri="{FF2B5EF4-FFF2-40B4-BE49-F238E27FC236}">
                <a16:creationId xmlns:a16="http://schemas.microsoft.com/office/drawing/2014/main" id="{BE2FEB48-FF12-4D15-B4B4-E4E7276EF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92164" name="Rectangle 2" hidden="1">
            <a:extLst>
              <a:ext uri="{FF2B5EF4-FFF2-40B4-BE49-F238E27FC236}">
                <a16:creationId xmlns:a16="http://schemas.microsoft.com/office/drawing/2014/main" id="{23CA7525-2A31-4E3A-B6D8-850A1AA072C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9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5" name="Rectangle 3">
            <a:extLst>
              <a:ext uri="{FF2B5EF4-FFF2-40B4-BE49-F238E27FC236}">
                <a16:creationId xmlns:a16="http://schemas.microsoft.com/office/drawing/2014/main" id="{7671DC89-79C3-405B-ABB2-014AAC94C739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42D615F-F5EB-40D3-BD64-C2FCBE36967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F5BD8CA1-983B-4497-978F-F36CA7975E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B2428046-F877-4AEF-80F7-F2DEB1355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20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The theory of DCF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134597C4-8738-42EE-ACF5-4161A16D186C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04CF0458-92DE-4158-BAEF-573EC98843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301CD029-DACA-44BF-8E4D-F7E1D40681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714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Forecasting free cash flows </a:t>
              </a:r>
            </a:p>
          </p:txBody>
        </p:sp>
      </p:grpSp>
      <p:grpSp>
        <p:nvGrpSpPr>
          <p:cNvPr id="92168" name="Group 7">
            <a:extLst>
              <a:ext uri="{FF2B5EF4-FFF2-40B4-BE49-F238E27FC236}">
                <a16:creationId xmlns:a16="http://schemas.microsoft.com/office/drawing/2014/main" id="{5CC9BD3F-6413-411D-8224-0A1DCC7A5098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92170" name="Rectangle 8">
              <a:extLst>
                <a:ext uri="{FF2B5EF4-FFF2-40B4-BE49-F238E27FC236}">
                  <a16:creationId xmlns:a16="http://schemas.microsoft.com/office/drawing/2014/main" id="{E5079F7B-4ADF-47F6-BAD6-06E2EED4E206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92171" name="Rectangle 9">
              <a:extLst>
                <a:ext uri="{FF2B5EF4-FFF2-40B4-BE49-F238E27FC236}">
                  <a16:creationId xmlns:a16="http://schemas.microsoft.com/office/drawing/2014/main" id="{A8BB29AB-7B9B-4D72-92AA-53CDBEC37E6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1881"/>
              <a:ext cx="848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Value drivers</a:t>
              </a:r>
            </a:p>
          </p:txBody>
        </p:sp>
      </p:grpSp>
      <p:grpSp>
        <p:nvGrpSpPr>
          <p:cNvPr id="90121" name="Group 10">
            <a:extLst>
              <a:ext uri="{FF2B5EF4-FFF2-40B4-BE49-F238E27FC236}">
                <a16:creationId xmlns:a16="http://schemas.microsoft.com/office/drawing/2014/main" id="{AB827482-DBFA-461B-8D02-AC32CD3DEFAF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  <a:solidFill>
            <a:srgbClr val="002060"/>
          </a:solidFill>
        </p:grpSpPr>
        <p:sp>
          <p:nvSpPr>
            <p:cNvPr id="90122" name="Rectangle 11">
              <a:extLst>
                <a:ext uri="{FF2B5EF4-FFF2-40B4-BE49-F238E27FC236}">
                  <a16:creationId xmlns:a16="http://schemas.microsoft.com/office/drawing/2014/main" id="{2E8D6DF1-E3DE-4213-B793-73E66A725D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90123" name="Rectangle 12">
              <a:extLst>
                <a:ext uri="{FF2B5EF4-FFF2-40B4-BE49-F238E27FC236}">
                  <a16:creationId xmlns:a16="http://schemas.microsoft.com/office/drawing/2014/main" id="{CA31011E-9E5A-41B9-A38C-FDC85B30C5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2196"/>
              <a:ext cx="1562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Another look at Kellogg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What does the market think about Kellogg?</a:t>
            </a:r>
          </a:p>
        </p:txBody>
      </p:sp>
      <p:sp>
        <p:nvSpPr>
          <p:cNvPr id="75781" name="Rectangle 3">
            <a:extLst>
              <a:ext uri="{FF2B5EF4-FFF2-40B4-BE49-F238E27FC236}">
                <a16:creationId xmlns:a16="http://schemas.microsoft.com/office/drawing/2014/main" id="{1010BD9F-E5BB-48DE-AAA6-782830638D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273175"/>
            <a:ext cx="8553450" cy="3323987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With very low growth assumptions, we can derive a fundamental share price of USD 69.9 which is close to the current share price (on 22</a:t>
            </a:r>
            <a:r>
              <a:rPr lang="en-GB" altLang="en-US" sz="1800" baseline="30000" dirty="0"/>
              <a:t>nd</a:t>
            </a:r>
            <a:r>
              <a:rPr lang="en-GB" altLang="en-US" sz="1800" dirty="0"/>
              <a:t> August 2019) of USD 63.4</a:t>
            </a:r>
          </a:p>
          <a:p>
            <a:pPr lvl="1" eaLnBrk="1" hangingPunct="1"/>
            <a:r>
              <a:rPr lang="en-GB" altLang="en-US" sz="1800" dirty="0"/>
              <a:t>How do we know whether our assumptions are reasonable?</a:t>
            </a:r>
          </a:p>
          <a:p>
            <a:pPr lvl="1" eaLnBrk="1" hangingPunct="1"/>
            <a:r>
              <a:rPr lang="en-GB" altLang="en-US" sz="1800" dirty="0"/>
              <a:t>Best to switch perspectives, the market values Kellogg as if ROIC remains constant with growth close to zero</a:t>
            </a:r>
          </a:p>
          <a:p>
            <a:pPr lvl="1" eaLnBrk="1" hangingPunct="1"/>
            <a:r>
              <a:rPr lang="en-GB" altLang="en-US" sz="1800" dirty="0"/>
              <a:t>Is this a plausible assumption?</a:t>
            </a:r>
          </a:p>
          <a:p>
            <a:pPr lvl="1" eaLnBrk="1" hangingPunct="1"/>
            <a:r>
              <a:rPr lang="en-GB" altLang="en-US" sz="1800" dirty="0"/>
              <a:t>Will profit margin remain high?</a:t>
            </a:r>
          </a:p>
          <a:p>
            <a:pPr lvl="1" eaLnBrk="1" hangingPunct="1"/>
            <a:r>
              <a:rPr lang="en-GB" altLang="en-US" sz="1800" dirty="0"/>
              <a:t>What is your recommendation?</a:t>
            </a:r>
          </a:p>
        </p:txBody>
      </p:sp>
    </p:spTree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5A3E6D02-1856-40E9-95B2-E10B6B8015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2E467B76-0622-4271-AB25-1F784AB01C13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8435" name="Footer Placeholder 4">
            <a:extLst>
              <a:ext uri="{FF2B5EF4-FFF2-40B4-BE49-F238E27FC236}">
                <a16:creationId xmlns:a16="http://schemas.microsoft.com/office/drawing/2014/main" id="{590BC70F-3B08-4F67-979D-D6D929F6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8436" name="Rectangle 2" hidden="1">
            <a:extLst>
              <a:ext uri="{FF2B5EF4-FFF2-40B4-BE49-F238E27FC236}">
                <a16:creationId xmlns:a16="http://schemas.microsoft.com/office/drawing/2014/main" id="{1DFB27F1-D858-4BEC-8D78-D298AF27460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r:id="rId14" imgW="0" imgH="0" progId="TCLayout.ActiveDocument">
                  <p:embed/>
                </p:oleObj>
              </mc:Choice>
              <mc:Fallback>
                <p:oleObj r:id="rId14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7" name="Rectangle 3">
            <a:extLst>
              <a:ext uri="{FF2B5EF4-FFF2-40B4-BE49-F238E27FC236}">
                <a16:creationId xmlns:a16="http://schemas.microsoft.com/office/drawing/2014/main" id="{EFFC8F8D-EDF6-49A4-8D40-49147763292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18438" name="Group 4">
            <a:extLst>
              <a:ext uri="{FF2B5EF4-FFF2-40B4-BE49-F238E27FC236}">
                <a16:creationId xmlns:a16="http://schemas.microsoft.com/office/drawing/2014/main" id="{956FCA24-49B1-471E-B267-CEE7389A1BA8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</p:grpSpPr>
        <p:sp>
          <p:nvSpPr>
            <p:cNvPr id="18448" name="Rectangle 5">
              <a:extLst>
                <a:ext uri="{FF2B5EF4-FFF2-40B4-BE49-F238E27FC236}">
                  <a16:creationId xmlns:a16="http://schemas.microsoft.com/office/drawing/2014/main" id="{8B7D1E24-24FB-4087-80AF-27A71D04AD7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9" name="Rectangle 6">
              <a:extLst>
                <a:ext uri="{FF2B5EF4-FFF2-40B4-BE49-F238E27FC236}">
                  <a16:creationId xmlns:a16="http://schemas.microsoft.com/office/drawing/2014/main" id="{A7A1459D-25CE-45D3-B3B2-B3D0498B07C0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573" y="1566"/>
              <a:ext cx="1224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b="1" dirty="0">
                  <a:solidFill>
                    <a:schemeClr val="bg1"/>
                  </a:solidFill>
                </a:rPr>
                <a:t>The theory of DCF</a:t>
              </a:r>
            </a:p>
          </p:txBody>
        </p:sp>
      </p:grpSp>
      <p:grpSp>
        <p:nvGrpSpPr>
          <p:cNvPr id="18439" name="Group 7">
            <a:extLst>
              <a:ext uri="{FF2B5EF4-FFF2-40B4-BE49-F238E27FC236}">
                <a16:creationId xmlns:a16="http://schemas.microsoft.com/office/drawing/2014/main" id="{F8C0123E-9777-48F8-A47A-4C2ACA56B02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925"/>
            <a:ext cx="4149725" cy="450850"/>
            <a:chOff x="1515" y="1816"/>
            <a:chExt cx="2614" cy="284"/>
          </a:xfrm>
        </p:grpSpPr>
        <p:sp>
          <p:nvSpPr>
            <p:cNvPr id="18446" name="Rectangle 8">
              <a:extLst>
                <a:ext uri="{FF2B5EF4-FFF2-40B4-BE49-F238E27FC236}">
                  <a16:creationId xmlns:a16="http://schemas.microsoft.com/office/drawing/2014/main" id="{9CC14150-B300-4C5D-94D9-3BA40A2A501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7" name="Rectangle 9">
              <a:extLst>
                <a:ext uri="{FF2B5EF4-FFF2-40B4-BE49-F238E27FC236}">
                  <a16:creationId xmlns:a16="http://schemas.microsoft.com/office/drawing/2014/main" id="{F1DE9241-52F4-4C7B-B76E-BD289F24D605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573" y="1881"/>
              <a:ext cx="1714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Forecasting free cash flows </a:t>
              </a:r>
            </a:p>
          </p:txBody>
        </p:sp>
      </p:grpSp>
      <p:grpSp>
        <p:nvGrpSpPr>
          <p:cNvPr id="18440" name="Group 7">
            <a:extLst>
              <a:ext uri="{FF2B5EF4-FFF2-40B4-BE49-F238E27FC236}">
                <a16:creationId xmlns:a16="http://schemas.microsoft.com/office/drawing/2014/main" id="{CBEE5E58-8CB7-4556-9BD2-C55DA35ADD8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18444" name="Rectangle 8">
              <a:extLst>
                <a:ext uri="{FF2B5EF4-FFF2-40B4-BE49-F238E27FC236}">
                  <a16:creationId xmlns:a16="http://schemas.microsoft.com/office/drawing/2014/main" id="{C0D370B1-F927-4036-B2AC-68A4E568548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5" name="Rectangle 9">
              <a:extLst>
                <a:ext uri="{FF2B5EF4-FFF2-40B4-BE49-F238E27FC236}">
                  <a16:creationId xmlns:a16="http://schemas.microsoft.com/office/drawing/2014/main" id="{93EB864B-9DCF-4294-8A2D-5BB8CDE284C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848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Value drivers</a:t>
              </a:r>
            </a:p>
          </p:txBody>
        </p:sp>
      </p:grpSp>
      <p:grpSp>
        <p:nvGrpSpPr>
          <p:cNvPr id="18441" name="Group 10">
            <a:extLst>
              <a:ext uri="{FF2B5EF4-FFF2-40B4-BE49-F238E27FC236}">
                <a16:creationId xmlns:a16="http://schemas.microsoft.com/office/drawing/2014/main" id="{426A98FF-B0F5-4D28-9447-BC4ACE053DE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18442" name="Rectangle 11">
              <a:extLst>
                <a:ext uri="{FF2B5EF4-FFF2-40B4-BE49-F238E27FC236}">
                  <a16:creationId xmlns:a16="http://schemas.microsoft.com/office/drawing/2014/main" id="{39283FCD-CA6C-42B1-BAFF-49CF47259D3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3" name="Rectangle 12">
              <a:extLst>
                <a:ext uri="{FF2B5EF4-FFF2-40B4-BE49-F238E27FC236}">
                  <a16:creationId xmlns:a16="http://schemas.microsoft.com/office/drawing/2014/main" id="{F4F3842A-E725-4C43-8D3E-E5549BF63BC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475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Another look at Kellogg 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Number Placeholder 3">
            <a:extLst>
              <a:ext uri="{FF2B5EF4-FFF2-40B4-BE49-F238E27FC236}">
                <a16:creationId xmlns:a16="http://schemas.microsoft.com/office/drawing/2014/main" id="{FDB3CB02-8214-46E5-B6C9-0FCEC56CCD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9106970-1BBE-483D-905C-17B36252E9F7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16739" name="Footer Placeholder 4">
            <a:extLst>
              <a:ext uri="{FF2B5EF4-FFF2-40B4-BE49-F238E27FC236}">
                <a16:creationId xmlns:a16="http://schemas.microsoft.com/office/drawing/2014/main" id="{7209DCF9-D5FA-4CC0-AE83-A7596C5AA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116740" name="Rectangle 2">
            <a:extLst>
              <a:ext uri="{FF2B5EF4-FFF2-40B4-BE49-F238E27FC236}">
                <a16:creationId xmlns:a16="http://schemas.microsoft.com/office/drawing/2014/main" id="{6C1FBBFF-7448-42EB-A067-2582383A05E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de-DE" altLang="en-US" dirty="0"/>
              <a:t>MAIN INSIGHTS</a:t>
            </a:r>
            <a:endParaRPr lang="en-US" altLang="en-US" dirty="0"/>
          </a:p>
        </p:txBody>
      </p:sp>
      <p:sp>
        <p:nvSpPr>
          <p:cNvPr id="116741" name="Rectangle 3">
            <a:extLst>
              <a:ext uri="{FF2B5EF4-FFF2-40B4-BE49-F238E27FC236}">
                <a16:creationId xmlns:a16="http://schemas.microsoft.com/office/drawing/2014/main" id="{EFA7368E-F674-48AC-917A-693632E76FE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981075"/>
            <a:ext cx="8553450" cy="3791807"/>
          </a:xfrm>
          <a:solidFill>
            <a:srgbClr val="C0C0C0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lvl="1" eaLnBrk="1" hangingPunct="1"/>
            <a:r>
              <a:rPr lang="en-GB" altLang="en-US" dirty="0"/>
              <a:t>The theory of DCF</a:t>
            </a:r>
          </a:p>
          <a:p>
            <a:pPr lvl="2" eaLnBrk="1" hangingPunct="1"/>
            <a:r>
              <a:rPr lang="en-GB" altLang="en-US" dirty="0"/>
              <a:t>Operating value versus entity value</a:t>
            </a:r>
          </a:p>
          <a:p>
            <a:pPr lvl="2" eaLnBrk="1" hangingPunct="1"/>
            <a:r>
              <a:rPr lang="en-GB" altLang="en-US" dirty="0"/>
              <a:t>Deriving the value of equity</a:t>
            </a:r>
          </a:p>
          <a:p>
            <a:pPr lvl="1" eaLnBrk="1" hangingPunct="1"/>
            <a:r>
              <a:rPr lang="en-GB" altLang="en-US" dirty="0"/>
              <a:t>Forecasting of cash flows</a:t>
            </a:r>
          </a:p>
          <a:p>
            <a:pPr lvl="2" eaLnBrk="1" hangingPunct="1"/>
            <a:r>
              <a:rPr lang="en-GB" altLang="en-US" dirty="0"/>
              <a:t>Revenue based with constant ratios</a:t>
            </a:r>
          </a:p>
          <a:p>
            <a:pPr lvl="2" eaLnBrk="1" hangingPunct="1"/>
            <a:r>
              <a:rPr lang="en-GB" altLang="en-US" dirty="0"/>
              <a:t>Limitations of this approach (e.g. high-growth firms)</a:t>
            </a:r>
          </a:p>
          <a:p>
            <a:pPr lvl="1" eaLnBrk="1" hangingPunct="1"/>
            <a:r>
              <a:rPr lang="en-GB" altLang="en-US" dirty="0"/>
              <a:t>Value drivers</a:t>
            </a:r>
          </a:p>
          <a:p>
            <a:pPr lvl="2" eaLnBrk="1" hangingPunct="1"/>
            <a:r>
              <a:rPr lang="en-GB" altLang="en-US" dirty="0"/>
              <a:t>ROIC trees</a:t>
            </a:r>
          </a:p>
          <a:p>
            <a:pPr lvl="2" eaLnBrk="1" hangingPunct="1"/>
            <a:r>
              <a:rPr lang="en-GB" altLang="en-US" dirty="0"/>
              <a:t>Types of growth</a:t>
            </a:r>
          </a:p>
          <a:p>
            <a:pPr lvl="1" eaLnBrk="1" hangingPunct="1"/>
            <a:r>
              <a:rPr lang="en-GB" altLang="en-US" dirty="0"/>
              <a:t>Using DCF models to understand the market’s perspective</a:t>
            </a:r>
            <a:endParaRPr lang="en-US" altLang="en-US" dirty="0"/>
          </a:p>
        </p:txBody>
      </p:sp>
      <p:sp>
        <p:nvSpPr>
          <p:cNvPr id="116742" name="Litebulb">
            <a:extLst>
              <a:ext uri="{FF2B5EF4-FFF2-40B4-BE49-F238E27FC236}">
                <a16:creationId xmlns:a16="http://schemas.microsoft.com/office/drawing/2014/main" id="{ACC28C4C-8EEF-41D5-8818-0C0032659664}"/>
              </a:ext>
            </a:extLst>
          </p:cNvPr>
          <p:cNvSpPr>
            <a:spLocks noEditPoints="1" noChangeArrowheads="1"/>
          </p:cNvSpPr>
          <p:nvPr/>
        </p:nvSpPr>
        <p:spPr bwMode="auto">
          <a:xfrm>
            <a:off x="7845425" y="5114925"/>
            <a:ext cx="931863" cy="1398588"/>
          </a:xfrm>
          <a:custGeom>
            <a:avLst/>
            <a:gdLst>
              <a:gd name="T0" fmla="*/ 2147483646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0 60000 65536"/>
              <a:gd name="T10" fmla="*/ 0 60000 65536"/>
              <a:gd name="T11" fmla="*/ 0 60000 65536"/>
              <a:gd name="T12" fmla="*/ 3556 w 21600"/>
              <a:gd name="T13" fmla="*/ 2188 h 21600"/>
              <a:gd name="T14" fmla="*/ 18277 w 21600"/>
              <a:gd name="T15" fmla="*/ 928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0825" y="21723"/>
                </a:moveTo>
                <a:lnTo>
                  <a:pt x="11215" y="21723"/>
                </a:lnTo>
                <a:lnTo>
                  <a:pt x="11552" y="21688"/>
                </a:lnTo>
                <a:lnTo>
                  <a:pt x="11916" y="21617"/>
                </a:lnTo>
                <a:lnTo>
                  <a:pt x="12253" y="21547"/>
                </a:lnTo>
                <a:lnTo>
                  <a:pt x="12617" y="21441"/>
                </a:lnTo>
                <a:lnTo>
                  <a:pt x="12902" y="21317"/>
                </a:lnTo>
                <a:lnTo>
                  <a:pt x="13162" y="21176"/>
                </a:lnTo>
                <a:lnTo>
                  <a:pt x="13396" y="21000"/>
                </a:lnTo>
                <a:lnTo>
                  <a:pt x="13655" y="20841"/>
                </a:lnTo>
                <a:lnTo>
                  <a:pt x="13863" y="20629"/>
                </a:lnTo>
                <a:lnTo>
                  <a:pt x="14045" y="20435"/>
                </a:lnTo>
                <a:lnTo>
                  <a:pt x="14200" y="20223"/>
                </a:lnTo>
                <a:lnTo>
                  <a:pt x="14356" y="19994"/>
                </a:lnTo>
                <a:lnTo>
                  <a:pt x="14460" y="19747"/>
                </a:lnTo>
                <a:lnTo>
                  <a:pt x="14512" y="19482"/>
                </a:lnTo>
                <a:lnTo>
                  <a:pt x="14512" y="19235"/>
                </a:lnTo>
                <a:lnTo>
                  <a:pt x="14512" y="19147"/>
                </a:lnTo>
                <a:lnTo>
                  <a:pt x="14512" y="18900"/>
                </a:lnTo>
                <a:lnTo>
                  <a:pt x="14512" y="18529"/>
                </a:lnTo>
                <a:lnTo>
                  <a:pt x="14512" y="18052"/>
                </a:lnTo>
                <a:lnTo>
                  <a:pt x="14512" y="17505"/>
                </a:lnTo>
                <a:lnTo>
                  <a:pt x="14512" y="16976"/>
                </a:lnTo>
                <a:lnTo>
                  <a:pt x="14512" y="16464"/>
                </a:lnTo>
                <a:lnTo>
                  <a:pt x="14512" y="15952"/>
                </a:lnTo>
                <a:lnTo>
                  <a:pt x="14512" y="15758"/>
                </a:lnTo>
                <a:lnTo>
                  <a:pt x="14616" y="15547"/>
                </a:lnTo>
                <a:lnTo>
                  <a:pt x="14694" y="15352"/>
                </a:lnTo>
                <a:lnTo>
                  <a:pt x="14798" y="15141"/>
                </a:lnTo>
                <a:lnTo>
                  <a:pt x="15161" y="14735"/>
                </a:lnTo>
                <a:lnTo>
                  <a:pt x="15602" y="14329"/>
                </a:lnTo>
                <a:lnTo>
                  <a:pt x="16745" y="13552"/>
                </a:lnTo>
                <a:lnTo>
                  <a:pt x="18043" y="12670"/>
                </a:lnTo>
                <a:lnTo>
                  <a:pt x="18744" y="12194"/>
                </a:lnTo>
                <a:lnTo>
                  <a:pt x="19341" y="11647"/>
                </a:lnTo>
                <a:lnTo>
                  <a:pt x="19938" y="11099"/>
                </a:lnTo>
                <a:lnTo>
                  <a:pt x="20483" y="10464"/>
                </a:lnTo>
                <a:lnTo>
                  <a:pt x="20743" y="10164"/>
                </a:lnTo>
                <a:lnTo>
                  <a:pt x="20950" y="9794"/>
                </a:lnTo>
                <a:lnTo>
                  <a:pt x="21132" y="9441"/>
                </a:lnTo>
                <a:lnTo>
                  <a:pt x="21288" y="9035"/>
                </a:lnTo>
                <a:lnTo>
                  <a:pt x="21444" y="8664"/>
                </a:lnTo>
                <a:lnTo>
                  <a:pt x="21548" y="8223"/>
                </a:lnTo>
                <a:lnTo>
                  <a:pt x="21600" y="7782"/>
                </a:lnTo>
                <a:lnTo>
                  <a:pt x="21600" y="7341"/>
                </a:lnTo>
                <a:lnTo>
                  <a:pt x="21600" y="6935"/>
                </a:lnTo>
                <a:lnTo>
                  <a:pt x="21548" y="6564"/>
                </a:lnTo>
                <a:lnTo>
                  <a:pt x="21496" y="6229"/>
                </a:lnTo>
                <a:lnTo>
                  <a:pt x="21392" y="5858"/>
                </a:lnTo>
                <a:lnTo>
                  <a:pt x="21288" y="5523"/>
                </a:lnTo>
                <a:lnTo>
                  <a:pt x="21132" y="5135"/>
                </a:lnTo>
                <a:lnTo>
                  <a:pt x="20950" y="4800"/>
                </a:lnTo>
                <a:lnTo>
                  <a:pt x="20743" y="4464"/>
                </a:lnTo>
                <a:lnTo>
                  <a:pt x="20535" y="4164"/>
                </a:lnTo>
                <a:lnTo>
                  <a:pt x="20301" y="3847"/>
                </a:lnTo>
                <a:lnTo>
                  <a:pt x="20042" y="3547"/>
                </a:lnTo>
                <a:lnTo>
                  <a:pt x="19782" y="3247"/>
                </a:lnTo>
                <a:lnTo>
                  <a:pt x="19133" y="2664"/>
                </a:lnTo>
                <a:lnTo>
                  <a:pt x="18458" y="2152"/>
                </a:lnTo>
                <a:lnTo>
                  <a:pt x="17705" y="1694"/>
                </a:lnTo>
                <a:lnTo>
                  <a:pt x="16849" y="1252"/>
                </a:lnTo>
                <a:lnTo>
                  <a:pt x="16407" y="1076"/>
                </a:lnTo>
                <a:lnTo>
                  <a:pt x="15940" y="900"/>
                </a:lnTo>
                <a:lnTo>
                  <a:pt x="15499" y="741"/>
                </a:lnTo>
                <a:lnTo>
                  <a:pt x="15057" y="600"/>
                </a:lnTo>
                <a:lnTo>
                  <a:pt x="14564" y="458"/>
                </a:lnTo>
                <a:lnTo>
                  <a:pt x="14045" y="335"/>
                </a:lnTo>
                <a:lnTo>
                  <a:pt x="13500" y="229"/>
                </a:lnTo>
                <a:lnTo>
                  <a:pt x="13006" y="158"/>
                </a:lnTo>
                <a:lnTo>
                  <a:pt x="12461" y="88"/>
                </a:lnTo>
                <a:lnTo>
                  <a:pt x="11968" y="52"/>
                </a:lnTo>
                <a:lnTo>
                  <a:pt x="11423" y="17"/>
                </a:lnTo>
                <a:lnTo>
                  <a:pt x="10825" y="17"/>
                </a:lnTo>
                <a:lnTo>
                  <a:pt x="10254" y="17"/>
                </a:lnTo>
                <a:lnTo>
                  <a:pt x="9709" y="52"/>
                </a:lnTo>
                <a:lnTo>
                  <a:pt x="9216" y="88"/>
                </a:lnTo>
                <a:lnTo>
                  <a:pt x="8671" y="158"/>
                </a:lnTo>
                <a:lnTo>
                  <a:pt x="8177" y="229"/>
                </a:lnTo>
                <a:lnTo>
                  <a:pt x="7632" y="335"/>
                </a:lnTo>
                <a:lnTo>
                  <a:pt x="7113" y="458"/>
                </a:lnTo>
                <a:lnTo>
                  <a:pt x="6620" y="600"/>
                </a:lnTo>
                <a:lnTo>
                  <a:pt x="6178" y="741"/>
                </a:lnTo>
                <a:lnTo>
                  <a:pt x="5737" y="900"/>
                </a:lnTo>
                <a:lnTo>
                  <a:pt x="5270" y="1076"/>
                </a:lnTo>
                <a:lnTo>
                  <a:pt x="4828" y="1252"/>
                </a:lnTo>
                <a:lnTo>
                  <a:pt x="3972" y="1694"/>
                </a:lnTo>
                <a:lnTo>
                  <a:pt x="3219" y="2152"/>
                </a:lnTo>
                <a:lnTo>
                  <a:pt x="2544" y="2664"/>
                </a:lnTo>
                <a:lnTo>
                  <a:pt x="1895" y="3247"/>
                </a:lnTo>
                <a:lnTo>
                  <a:pt x="1635" y="3547"/>
                </a:lnTo>
                <a:lnTo>
                  <a:pt x="1375" y="3847"/>
                </a:lnTo>
                <a:lnTo>
                  <a:pt x="1142" y="4164"/>
                </a:lnTo>
                <a:lnTo>
                  <a:pt x="934" y="4464"/>
                </a:lnTo>
                <a:lnTo>
                  <a:pt x="726" y="4800"/>
                </a:lnTo>
                <a:lnTo>
                  <a:pt x="545" y="5135"/>
                </a:lnTo>
                <a:lnTo>
                  <a:pt x="389" y="5523"/>
                </a:lnTo>
                <a:lnTo>
                  <a:pt x="285" y="5858"/>
                </a:lnTo>
                <a:lnTo>
                  <a:pt x="181" y="6229"/>
                </a:lnTo>
                <a:lnTo>
                  <a:pt x="129" y="6564"/>
                </a:lnTo>
                <a:lnTo>
                  <a:pt x="77" y="6935"/>
                </a:lnTo>
                <a:lnTo>
                  <a:pt x="77" y="7341"/>
                </a:lnTo>
                <a:lnTo>
                  <a:pt x="77" y="7782"/>
                </a:lnTo>
                <a:lnTo>
                  <a:pt x="129" y="8223"/>
                </a:lnTo>
                <a:lnTo>
                  <a:pt x="233" y="8664"/>
                </a:lnTo>
                <a:lnTo>
                  <a:pt x="389" y="9035"/>
                </a:lnTo>
                <a:lnTo>
                  <a:pt x="545" y="9441"/>
                </a:lnTo>
                <a:lnTo>
                  <a:pt x="726" y="9794"/>
                </a:lnTo>
                <a:lnTo>
                  <a:pt x="934" y="10164"/>
                </a:lnTo>
                <a:lnTo>
                  <a:pt x="1194" y="10464"/>
                </a:lnTo>
                <a:lnTo>
                  <a:pt x="1739" y="11099"/>
                </a:lnTo>
                <a:lnTo>
                  <a:pt x="2336" y="11647"/>
                </a:lnTo>
                <a:lnTo>
                  <a:pt x="2933" y="12194"/>
                </a:lnTo>
                <a:lnTo>
                  <a:pt x="3634" y="12670"/>
                </a:lnTo>
                <a:lnTo>
                  <a:pt x="4932" y="13552"/>
                </a:lnTo>
                <a:lnTo>
                  <a:pt x="6075" y="14329"/>
                </a:lnTo>
                <a:lnTo>
                  <a:pt x="6516" y="14735"/>
                </a:lnTo>
                <a:lnTo>
                  <a:pt x="6879" y="15141"/>
                </a:lnTo>
                <a:lnTo>
                  <a:pt x="6983" y="15352"/>
                </a:lnTo>
                <a:lnTo>
                  <a:pt x="7061" y="15547"/>
                </a:lnTo>
                <a:lnTo>
                  <a:pt x="7165" y="15758"/>
                </a:lnTo>
                <a:lnTo>
                  <a:pt x="7165" y="15952"/>
                </a:lnTo>
                <a:lnTo>
                  <a:pt x="7165" y="16464"/>
                </a:lnTo>
                <a:lnTo>
                  <a:pt x="7165" y="16976"/>
                </a:lnTo>
                <a:lnTo>
                  <a:pt x="7165" y="17505"/>
                </a:lnTo>
                <a:lnTo>
                  <a:pt x="7165" y="18052"/>
                </a:lnTo>
                <a:lnTo>
                  <a:pt x="7165" y="18529"/>
                </a:lnTo>
                <a:lnTo>
                  <a:pt x="7165" y="18900"/>
                </a:lnTo>
                <a:lnTo>
                  <a:pt x="7165" y="19147"/>
                </a:lnTo>
                <a:lnTo>
                  <a:pt x="7165" y="19235"/>
                </a:lnTo>
                <a:lnTo>
                  <a:pt x="7165" y="19482"/>
                </a:lnTo>
                <a:lnTo>
                  <a:pt x="7217" y="19747"/>
                </a:lnTo>
                <a:lnTo>
                  <a:pt x="7321" y="19994"/>
                </a:lnTo>
                <a:lnTo>
                  <a:pt x="7476" y="20223"/>
                </a:lnTo>
                <a:lnTo>
                  <a:pt x="7632" y="20435"/>
                </a:lnTo>
                <a:lnTo>
                  <a:pt x="7814" y="20629"/>
                </a:lnTo>
                <a:lnTo>
                  <a:pt x="8022" y="20841"/>
                </a:lnTo>
                <a:lnTo>
                  <a:pt x="8281" y="21000"/>
                </a:lnTo>
                <a:lnTo>
                  <a:pt x="8515" y="21176"/>
                </a:lnTo>
                <a:lnTo>
                  <a:pt x="8775" y="21317"/>
                </a:lnTo>
                <a:lnTo>
                  <a:pt x="9060" y="21441"/>
                </a:lnTo>
                <a:lnTo>
                  <a:pt x="9424" y="21547"/>
                </a:lnTo>
                <a:lnTo>
                  <a:pt x="9761" y="21617"/>
                </a:lnTo>
                <a:lnTo>
                  <a:pt x="10125" y="21688"/>
                </a:lnTo>
                <a:lnTo>
                  <a:pt x="10462" y="21723"/>
                </a:lnTo>
                <a:lnTo>
                  <a:pt x="10825" y="21723"/>
                </a:lnTo>
                <a:close/>
              </a:path>
              <a:path w="21600" h="21600" extrusionOk="0">
                <a:moveTo>
                  <a:pt x="9242" y="14417"/>
                </a:moveTo>
                <a:lnTo>
                  <a:pt x="8541" y="12035"/>
                </a:lnTo>
                <a:lnTo>
                  <a:pt x="7295" y="10129"/>
                </a:lnTo>
                <a:lnTo>
                  <a:pt x="6905" y="9652"/>
                </a:lnTo>
                <a:lnTo>
                  <a:pt x="8541" y="10182"/>
                </a:lnTo>
                <a:lnTo>
                  <a:pt x="9787" y="9547"/>
                </a:lnTo>
                <a:lnTo>
                  <a:pt x="11189" y="10129"/>
                </a:lnTo>
                <a:lnTo>
                  <a:pt x="12279" y="9547"/>
                </a:lnTo>
                <a:lnTo>
                  <a:pt x="13370" y="10076"/>
                </a:lnTo>
                <a:lnTo>
                  <a:pt x="14850" y="9652"/>
                </a:lnTo>
                <a:lnTo>
                  <a:pt x="12902" y="12247"/>
                </a:lnTo>
                <a:lnTo>
                  <a:pt x="12357" y="14417"/>
                </a:lnTo>
                <a:moveTo>
                  <a:pt x="7191" y="15952"/>
                </a:moveTo>
                <a:lnTo>
                  <a:pt x="14512" y="15952"/>
                </a:lnTo>
                <a:lnTo>
                  <a:pt x="14512" y="17064"/>
                </a:lnTo>
                <a:lnTo>
                  <a:pt x="7191" y="17047"/>
                </a:lnTo>
                <a:lnTo>
                  <a:pt x="7191" y="18123"/>
                </a:lnTo>
                <a:lnTo>
                  <a:pt x="14512" y="18158"/>
                </a:lnTo>
                <a:lnTo>
                  <a:pt x="14538" y="19182"/>
                </a:lnTo>
                <a:lnTo>
                  <a:pt x="7217" y="19182"/>
                </a:lnTo>
              </a:path>
            </a:pathLst>
          </a:custGeom>
          <a:solidFill>
            <a:srgbClr val="FFFF66"/>
          </a:solidFill>
          <a:ln w="571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Free cash flows and their distribu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49275" y="991873"/>
                <a:ext cx="7292975" cy="5300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 defTabSz="912813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268288" indent="-2667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Free cash flows refer to the money generated by the business minus any reinvestment required to maintain and grow invested capital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FCF=NOPLAT-ΔIC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Free cash flows are available to be distributed to debtholders and shareholders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Value of a company refers to future discounted free cash flows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As cash flows go to debtholders and shareholders, value means entity value (EV)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Thus </a:t>
                </a:r>
                <a14:m>
                  <m:oMath xmlns:m="http://schemas.openxmlformats.org/officeDocument/2006/math"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𝐸𝑉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∞</m:t>
                        </m:r>
                      </m:sup>
                      <m:e>
                        <m:f>
                          <m:f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𝐹𝐶𝐹</m:t>
                                </m:r>
                              </m:e>
                              <m:sub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</m:num>
                          <m:den>
                            <m:sSup>
                              <m:sSupPr>
                                <m:ctrlP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(1+</m:t>
                                </m:r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e>
                              <m:sup>
                                <m:r>
                                  <a:rPr lang="en-GB" altLang="en-US" sz="2000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p>
                            </m:sSup>
                          </m:den>
                        </m:f>
                      </m:e>
                    </m:nary>
                  </m:oMath>
                </a14:m>
                <a:r>
                  <a:rPr lang="en-GB" altLang="en-US" sz="2000" dirty="0"/>
                  <a:t>, where r refers to the cost of capital (WACC)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The righthand-side is also called the operating value (OV)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/>
                  <a:t>Note that EV and OV might differ (see next slide)</a:t>
                </a:r>
              </a:p>
              <a:p>
                <a:pPr lvl="1" eaLnBrk="1" hangingPunct="1">
                  <a:spcAft>
                    <a:spcPts val="800"/>
                  </a:spcAft>
                </a:pPr>
                <a:endParaRPr lang="en-US" altLang="en-US" sz="2000" dirty="0"/>
              </a:p>
            </p:txBody>
          </p:sp>
        </mc:Choice>
        <mc:Fallback xmlns="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49275" y="991873"/>
                <a:ext cx="7292975" cy="5300362"/>
              </a:xfrm>
              <a:prstGeom prst="rect">
                <a:avLst/>
              </a:prstGeom>
              <a:blipFill>
                <a:blip r:embed="rId5"/>
                <a:stretch>
                  <a:fillRect l="-2007" t="-1381" r="-2174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Number Placeholder 3">
            <a:extLst>
              <a:ext uri="{FF2B5EF4-FFF2-40B4-BE49-F238E27FC236}">
                <a16:creationId xmlns:a16="http://schemas.microsoft.com/office/drawing/2014/main" id="{0B5E28A6-8CE0-4860-A985-430428EB7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53024F30-F285-46B2-A801-D46D76829BB0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7827" name="Footer Placeholder 4">
            <a:extLst>
              <a:ext uri="{FF2B5EF4-FFF2-40B4-BE49-F238E27FC236}">
                <a16:creationId xmlns:a16="http://schemas.microsoft.com/office/drawing/2014/main" id="{6133E579-2377-4D25-AABB-95B9AA233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7828" name="Rectangle 2">
            <a:extLst>
              <a:ext uri="{FF2B5EF4-FFF2-40B4-BE49-F238E27FC236}">
                <a16:creationId xmlns:a16="http://schemas.microsoft.com/office/drawing/2014/main" id="{8A99725E-A958-4810-A3D7-2DA05785DC8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5000" y="1951038"/>
            <a:ext cx="581025" cy="1809750"/>
          </a:xfrm>
          <a:prstGeom prst="rect">
            <a:avLst/>
          </a:prstGeom>
          <a:solidFill>
            <a:srgbClr val="719C7C"/>
          </a:solidFill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77829" name="Line 3">
            <a:extLst>
              <a:ext uri="{FF2B5EF4-FFF2-40B4-BE49-F238E27FC236}">
                <a16:creationId xmlns:a16="http://schemas.microsoft.com/office/drawing/2014/main" id="{A1ED962F-A16B-4DEC-8674-9B749B8EAF28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520700" y="3760788"/>
            <a:ext cx="8064500" cy="1587"/>
          </a:xfrm>
          <a:prstGeom prst="line">
            <a:avLst/>
          </a:prstGeom>
          <a:noFill/>
          <a:ln w="28575">
            <a:solidFill>
              <a:srgbClr val="4D4D4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84E80937-FC00-4E5C-A033-6C8DDF42EA29}"/>
              </a:ext>
            </a:extLst>
          </p:cNvPr>
          <p:cNvGrpSpPr>
            <a:grpSpLocks/>
          </p:cNvGrpSpPr>
          <p:nvPr/>
        </p:nvGrpSpPr>
        <p:grpSpPr bwMode="auto">
          <a:xfrm>
            <a:off x="7673975" y="2527300"/>
            <a:ext cx="1028700" cy="1760538"/>
            <a:chOff x="4834" y="1592"/>
            <a:chExt cx="648" cy="1109"/>
          </a:xfrm>
        </p:grpSpPr>
        <p:grpSp>
          <p:nvGrpSpPr>
            <p:cNvPr id="77877" name="Group 5">
              <a:extLst>
                <a:ext uri="{FF2B5EF4-FFF2-40B4-BE49-F238E27FC236}">
                  <a16:creationId xmlns:a16="http://schemas.microsoft.com/office/drawing/2014/main" id="{209405FE-6078-4CED-B729-1B398F0AAAE2}"/>
                </a:ext>
              </a:extLst>
            </p:cNvPr>
            <p:cNvGrpSpPr>
              <a:grpSpLocks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4834" y="1592"/>
              <a:ext cx="648" cy="1109"/>
              <a:chOff x="4834" y="1592"/>
              <a:chExt cx="648" cy="1109"/>
            </a:xfrm>
          </p:grpSpPr>
          <p:sp>
            <p:nvSpPr>
              <p:cNvPr id="77879" name="Rectangle 6">
                <a:extLst>
                  <a:ext uri="{FF2B5EF4-FFF2-40B4-BE49-F238E27FC236}">
                    <a16:creationId xmlns:a16="http://schemas.microsoft.com/office/drawing/2014/main" id="{56C2F21E-DFF5-4CAB-8564-2A8EA5F904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70" y="1592"/>
                <a:ext cx="366" cy="780"/>
              </a:xfrm>
              <a:prstGeom prst="rect">
                <a:avLst/>
              </a:prstGeom>
              <a:solidFill>
                <a:srgbClr val="B2B2B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  <p:sp>
            <p:nvSpPr>
              <p:cNvPr id="77880" name="Rectangle 7">
                <a:extLst>
                  <a:ext uri="{FF2B5EF4-FFF2-40B4-BE49-F238E27FC236}">
                    <a16:creationId xmlns:a16="http://schemas.microsoft.com/office/drawing/2014/main" id="{F28DC461-E491-4DA4-9FDB-C3FEE3A977B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972" y="2435"/>
                <a:ext cx="510" cy="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989DFEF2-B03D-4AB6-9DD7-CF0A5D85C544}" type="datetime'''''''C''o''''''''''m''m''''on'''' ''eq''uity'''''''''">
                  <a:rPr lang="en-US" altLang="en-US" sz="1200" b="1">
                    <a:cs typeface="Arial" panose="020B0604020202020204" pitchFamily="34" charset="0"/>
                  </a:rPr>
                  <a:pPr eaLnBrk="1" hangingPunct="1"/>
                  <a:t>Common equity</a:t>
                </a:fld>
                <a:endParaRPr lang="en-US" altLang="en-US" sz="1200" b="1">
                  <a:cs typeface="Arial" panose="020B0604020202020204" pitchFamily="34" charset="0"/>
                </a:endParaRPr>
              </a:p>
              <a:p>
                <a:pPr eaLnBrk="1" hangingPunct="1"/>
                <a:r>
                  <a:rPr lang="en-US" altLang="en-US" sz="1200" b="1">
                    <a:cs typeface="Arial" panose="020B0604020202020204" pitchFamily="34" charset="0"/>
                  </a:rPr>
                  <a:t>value</a:t>
                </a:r>
              </a:p>
            </p:txBody>
          </p:sp>
          <p:sp>
            <p:nvSpPr>
              <p:cNvPr id="77881" name="Line 8">
                <a:extLst>
                  <a:ext uri="{FF2B5EF4-FFF2-40B4-BE49-F238E27FC236}">
                    <a16:creationId xmlns:a16="http://schemas.microsoft.com/office/drawing/2014/main" id="{A1E02238-8D86-400E-82DB-67BAB8C8D1A0}"/>
                  </a:ext>
                </a:extLst>
              </p:cNvPr>
              <p:cNvSpPr>
                <a:spLocks noChangeShapeType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834" y="1594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77878" name="Rectangle 9">
              <a:extLst>
                <a:ext uri="{FF2B5EF4-FFF2-40B4-BE49-F238E27FC236}">
                  <a16:creationId xmlns:a16="http://schemas.microsoft.com/office/drawing/2014/main" id="{1A0B75FF-594A-4750-B880-57E8C2F92649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5033" y="1905"/>
              <a:ext cx="245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5400" tIns="0" rIns="25400" bIns="0" anchor="ctr"/>
            <a:lstStyle>
              <a:lvl1pPr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b="1">
                  <a:cs typeface="Arial" panose="020B0604020202020204" pitchFamily="34" charset="0"/>
                </a:rPr>
                <a:t>1,050</a:t>
              </a:r>
            </a:p>
          </p:txBody>
        </p:sp>
      </p:grpSp>
      <p:grpSp>
        <p:nvGrpSpPr>
          <p:cNvPr id="4" name="Group 11">
            <a:extLst>
              <a:ext uri="{FF2B5EF4-FFF2-40B4-BE49-F238E27FC236}">
                <a16:creationId xmlns:a16="http://schemas.microsoft.com/office/drawing/2014/main" id="{BA5BA1DA-5FA3-4381-B9E2-3687EFBF46BC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862388" y="1731963"/>
            <a:ext cx="811212" cy="2768600"/>
            <a:chOff x="2433" y="1091"/>
            <a:chExt cx="511" cy="1744"/>
          </a:xfrm>
        </p:grpSpPr>
        <p:sp>
          <p:nvSpPr>
            <p:cNvPr id="77874" name="Rectangle 12">
              <a:extLst>
                <a:ext uri="{FF2B5EF4-FFF2-40B4-BE49-F238E27FC236}">
                  <a16:creationId xmlns:a16="http://schemas.microsoft.com/office/drawing/2014/main" id="{FAD1DBF6-F345-4945-87E0-4137F71AB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3" y="1091"/>
              <a:ext cx="366" cy="1278"/>
            </a:xfrm>
            <a:prstGeom prst="rect">
              <a:avLst/>
            </a:prstGeom>
            <a:solidFill>
              <a:srgbClr val="BD8586"/>
            </a:solidFill>
            <a:ln w="9525">
              <a:solidFill>
                <a:srgbClr val="4D4D4D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77875" name="Rectangle 13">
              <a:extLst>
                <a:ext uri="{FF2B5EF4-FFF2-40B4-BE49-F238E27FC236}">
                  <a16:creationId xmlns:a16="http://schemas.microsoft.com/office/drawing/2014/main" id="{7BC528D7-5FD8-4BC1-96C4-DD2F41A81D3D}"/>
                </a:ext>
              </a:extLst>
            </p:cNvPr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2434" y="2433"/>
              <a:ext cx="510" cy="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fld id="{468E7AAF-AC46-4196-8C85-D20148BBC2AD}" type="datetime'To''ta''l ''e''''nte''r''pr''is''e'''''''''' ''''''valu''e'">
                <a:rPr lang="en-US" altLang="en-US" sz="1200" b="1">
                  <a:cs typeface="Arial" panose="020B0604020202020204" pitchFamily="34" charset="0"/>
                </a:rPr>
                <a:pPr eaLnBrk="1" hangingPunct="1"/>
                <a:t>Total enterprise value</a:t>
              </a:fld>
              <a:endParaRPr lang="en-US" altLang="en-US" sz="1200" b="1">
                <a:cs typeface="Arial" panose="020B0604020202020204" pitchFamily="34" charset="0"/>
              </a:endParaRPr>
            </a:p>
          </p:txBody>
        </p:sp>
        <p:sp>
          <p:nvSpPr>
            <p:cNvPr id="77876" name="Rectangle 14">
              <a:extLst>
                <a:ext uri="{FF2B5EF4-FFF2-40B4-BE49-F238E27FC236}">
                  <a16:creationId xmlns:a16="http://schemas.microsoft.com/office/drawing/2014/main" id="{E19FC13C-6BF7-481C-9320-F2993A871233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2441" y="1653"/>
              <a:ext cx="352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5400" tIns="0" rIns="25400" bIns="0" anchor="ctr"/>
            <a:lstStyle>
              <a:lvl1pPr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b="1">
                  <a:solidFill>
                    <a:schemeClr val="bg1"/>
                  </a:solidFill>
                </a:rPr>
                <a:t>1,650</a:t>
              </a:r>
            </a:p>
          </p:txBody>
        </p:sp>
      </p:grpSp>
      <p:sp>
        <p:nvSpPr>
          <p:cNvPr id="77832" name="Rectangle 15">
            <a:extLst>
              <a:ext uri="{FF2B5EF4-FFF2-40B4-BE49-F238E27FC236}">
                <a16:creationId xmlns:a16="http://schemas.microsoft.com/office/drawing/2014/main" id="{8794C065-2B9E-446E-B8C8-F64D3C8E4C1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 flipV="1">
            <a:off x="266700" y="1085850"/>
            <a:ext cx="18415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Example</a:t>
            </a:r>
          </a:p>
        </p:txBody>
      </p:sp>
      <p:grpSp>
        <p:nvGrpSpPr>
          <p:cNvPr id="5" name="Group 16">
            <a:extLst>
              <a:ext uri="{FF2B5EF4-FFF2-40B4-BE49-F238E27FC236}">
                <a16:creationId xmlns:a16="http://schemas.microsoft.com/office/drawing/2014/main" id="{DACBB1AD-512E-466C-A67C-2F2BB992D5B4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216025" y="1462088"/>
            <a:ext cx="2735263" cy="5183187"/>
            <a:chOff x="766" y="921"/>
            <a:chExt cx="1723" cy="3265"/>
          </a:xfrm>
        </p:grpSpPr>
        <p:grpSp>
          <p:nvGrpSpPr>
            <p:cNvPr id="77857" name="Group 17">
              <a:extLst>
                <a:ext uri="{FF2B5EF4-FFF2-40B4-BE49-F238E27FC236}">
                  <a16:creationId xmlns:a16="http://schemas.microsoft.com/office/drawing/2014/main" id="{A0D6C498-BEB5-4AE7-B291-392BF159ACE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0" y="921"/>
              <a:ext cx="1579" cy="3265"/>
              <a:chOff x="910" y="921"/>
              <a:chExt cx="1579" cy="3265"/>
            </a:xfrm>
          </p:grpSpPr>
          <p:sp>
            <p:nvSpPr>
              <p:cNvPr id="77859" name="Line 18">
                <a:extLst>
                  <a:ext uri="{FF2B5EF4-FFF2-40B4-BE49-F238E27FC236}">
                    <a16:creationId xmlns:a16="http://schemas.microsoft.com/office/drawing/2014/main" id="{60EC25E8-5C2B-470F-93BD-AF4FF17FDE71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270" y="1193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60" name="Line 19">
                <a:extLst>
                  <a:ext uri="{FF2B5EF4-FFF2-40B4-BE49-F238E27FC236}">
                    <a16:creationId xmlns:a16="http://schemas.microsoft.com/office/drawing/2014/main" id="{A419B8BB-0354-405F-8DC7-4DC52497FE98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780" y="1145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61" name="Line 20">
                <a:extLst>
                  <a:ext uri="{FF2B5EF4-FFF2-40B4-BE49-F238E27FC236}">
                    <a16:creationId xmlns:a16="http://schemas.microsoft.com/office/drawing/2014/main" id="{9AC2F627-583F-4726-BFF4-60C010234070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2290" y="1091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62" name="Line 21">
                <a:extLst>
                  <a:ext uri="{FF2B5EF4-FFF2-40B4-BE49-F238E27FC236}">
                    <a16:creationId xmlns:a16="http://schemas.microsoft.com/office/drawing/2014/main" id="{363B23AF-0353-4A91-8B18-C07791DBAED7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090" y="1177"/>
                <a:ext cx="0" cy="34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63" name="Line 22">
                <a:extLst>
                  <a:ext uri="{FF2B5EF4-FFF2-40B4-BE49-F238E27FC236}">
                    <a16:creationId xmlns:a16="http://schemas.microsoft.com/office/drawing/2014/main" id="{A086C8D6-3FEE-4762-B248-5AD0A53817A6}"/>
                  </a:ext>
                </a:extLst>
              </p:cNvPr>
              <p:cNvSpPr>
                <a:spLocks noChangeShapeType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597" y="1129"/>
                <a:ext cx="0" cy="4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64" name="Line 23">
                <a:extLst>
                  <a:ext uri="{FF2B5EF4-FFF2-40B4-BE49-F238E27FC236}">
                    <a16:creationId xmlns:a16="http://schemas.microsoft.com/office/drawing/2014/main" id="{7FD5F1AE-A534-4A4A-BC1D-3B4413133CD0}"/>
                  </a:ext>
                </a:extLst>
              </p:cNvPr>
              <p:cNvSpPr>
                <a:spLocks noChangeShapeType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107" y="1075"/>
                <a:ext cx="0" cy="43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65" name="Rectangle 24">
                <a:extLst>
                  <a:ext uri="{FF2B5EF4-FFF2-40B4-BE49-F238E27FC236}">
                    <a16:creationId xmlns:a16="http://schemas.microsoft.com/office/drawing/2014/main" id="{58A286F0-D185-4BC0-8F43-FE5A74DA037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003" y="1023"/>
                <a:ext cx="174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b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fld id="{4015A883-3CCE-47A3-8527-12382685E513}" type="datetime'''''40'''''''''''''''''''''''''''''''''''''''''''">
                  <a:rPr lang="en-US" altLang="en-US"/>
                  <a:pPr algn="ctr" eaLnBrk="1" hangingPunct="1"/>
                  <a:t>40</a:t>
                </a:fld>
                <a:endParaRPr lang="en-US" altLang="en-US"/>
              </a:p>
            </p:txBody>
          </p:sp>
          <p:sp>
            <p:nvSpPr>
              <p:cNvPr id="77866" name="Rectangle 25">
                <a:extLst>
                  <a:ext uri="{FF2B5EF4-FFF2-40B4-BE49-F238E27FC236}">
                    <a16:creationId xmlns:a16="http://schemas.microsoft.com/office/drawing/2014/main" id="{BFD31B53-9DB4-4537-A492-458E0BEEA51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910" y="2433"/>
                <a:ext cx="504" cy="2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D93C06D5-3BBF-49A0-B043-1AB02406604D}" type="datetime'''''E''''x''''''''''c''e''ss'''' ''''''''''C''''''''a''sh'''''">
                  <a:rPr lang="en-US" altLang="en-US" sz="1200">
                    <a:cs typeface="Arial" panose="020B0604020202020204" pitchFamily="34" charset="0"/>
                  </a:rPr>
                  <a:pPr eaLnBrk="1" hangingPunct="1"/>
                  <a:t>Excess Cash</a:t>
                </a:fld>
                <a:endParaRPr lang="en-US" altLang="en-US" sz="1200">
                  <a:cs typeface="Arial" panose="020B0604020202020204" pitchFamily="34" charset="0"/>
                </a:endParaRPr>
              </a:p>
            </p:txBody>
          </p:sp>
          <p:sp>
            <p:nvSpPr>
              <p:cNvPr id="77867" name="Rectangle 26">
                <a:extLst>
                  <a:ext uri="{FF2B5EF4-FFF2-40B4-BE49-F238E27FC236}">
                    <a16:creationId xmlns:a16="http://schemas.microsoft.com/office/drawing/2014/main" id="{3978D35E-4B80-48A3-BD92-BF9139D4C3A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510" y="975"/>
                <a:ext cx="174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b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/>
                  <a:t>50</a:t>
                </a:r>
              </a:p>
            </p:txBody>
          </p:sp>
          <p:sp>
            <p:nvSpPr>
              <p:cNvPr id="77868" name="Rectangle 27">
                <a:extLst>
                  <a:ext uri="{FF2B5EF4-FFF2-40B4-BE49-F238E27FC236}">
                    <a16:creationId xmlns:a16="http://schemas.microsoft.com/office/drawing/2014/main" id="{75F93028-2D72-4AB0-8F1B-07F443F54D3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316" y="2433"/>
                <a:ext cx="597" cy="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1200">
                    <a:cs typeface="Arial" panose="020B0604020202020204" pitchFamily="34" charset="0"/>
                  </a:rPr>
                  <a:t>Investment such as  non-consolidated subsidiary</a:t>
                </a:r>
                <a:endParaRPr lang="en-US" altLang="en-US" sz="1200" i="1">
                  <a:cs typeface="Arial" panose="020B0604020202020204" pitchFamily="34" charset="0"/>
                </a:endParaRPr>
              </a:p>
            </p:txBody>
          </p:sp>
          <p:sp>
            <p:nvSpPr>
              <p:cNvPr id="77869" name="Rectangle 28">
                <a:extLst>
                  <a:ext uri="{FF2B5EF4-FFF2-40B4-BE49-F238E27FC236}">
                    <a16:creationId xmlns:a16="http://schemas.microsoft.com/office/drawing/2014/main" id="{1E912707-A3FF-4D4B-A467-C915918B21A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020" y="921"/>
                <a:ext cx="174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b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fld id="{4A71B3D9-B9E0-4814-A1F2-7C50BE4B6489}" type="datetime'''''''''''''''''''''''''''''6''''''''''''0'''''''''''''''''">
                  <a:rPr lang="en-US" altLang="en-US"/>
                  <a:pPr algn="ctr" eaLnBrk="1" hangingPunct="1"/>
                  <a:t>60</a:t>
                </a:fld>
                <a:endParaRPr lang="en-US" altLang="en-US"/>
              </a:p>
            </p:txBody>
          </p:sp>
          <p:sp>
            <p:nvSpPr>
              <p:cNvPr id="77870" name="Rectangle 29">
                <a:extLst>
                  <a:ext uri="{FF2B5EF4-FFF2-40B4-BE49-F238E27FC236}">
                    <a16:creationId xmlns:a16="http://schemas.microsoft.com/office/drawing/2014/main" id="{98AAB834-AB03-418D-AC98-333E1341944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946" y="2444"/>
                <a:ext cx="543" cy="17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99903CB5-B8B3-44E4-9AE6-9586588B8AF5}" type="datetime'O''t''''he''r ''&#10;n''''on-o''''per''a''''ti''''n''g as''sets'''">
                  <a:rPr lang="en-US" altLang="en-US" sz="1200">
                    <a:cs typeface="Arial" panose="020B0604020202020204" pitchFamily="34" charset="0"/>
                  </a:rPr>
                  <a:pPr eaLnBrk="1" hangingPunct="1"/>
                  <a:t>Other 
non-operating assets</a:t>
                </a:fld>
                <a:endParaRPr lang="en-US" altLang="en-US" sz="1200">
                  <a:cs typeface="Arial" panose="020B0604020202020204" pitchFamily="34" charset="0"/>
                </a:endParaRPr>
              </a:p>
              <a:p>
                <a:pPr eaLnBrk="1" hangingPunct="1"/>
                <a:r>
                  <a:rPr lang="en-US" altLang="en-US" sz="1200" i="1">
                    <a:cs typeface="Arial" panose="020B0604020202020204" pitchFamily="34" charset="0"/>
                  </a:rPr>
                  <a:t>- for example, asset from discontinued operation (idle factory)</a:t>
                </a:r>
              </a:p>
            </p:txBody>
          </p:sp>
          <p:sp>
            <p:nvSpPr>
              <p:cNvPr id="77871" name="Rectangle 30">
                <a:extLst>
                  <a:ext uri="{FF2B5EF4-FFF2-40B4-BE49-F238E27FC236}">
                    <a16:creationId xmlns:a16="http://schemas.microsoft.com/office/drawing/2014/main" id="{1559A39E-9E37-4703-9E20-2132F411ED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0" y="1193"/>
                <a:ext cx="360" cy="36"/>
              </a:xfrm>
              <a:prstGeom prst="rect">
                <a:avLst/>
              </a:prstGeom>
              <a:solidFill>
                <a:srgbClr val="6F8CC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  <p:sp>
            <p:nvSpPr>
              <p:cNvPr id="77872" name="Rectangle 31">
                <a:extLst>
                  <a:ext uri="{FF2B5EF4-FFF2-40B4-BE49-F238E27FC236}">
                    <a16:creationId xmlns:a16="http://schemas.microsoft.com/office/drawing/2014/main" id="{A6C21A51-D7AF-4848-B29A-EC9D47F74E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4" y="1145"/>
                <a:ext cx="365" cy="48"/>
              </a:xfrm>
              <a:prstGeom prst="rect">
                <a:avLst/>
              </a:prstGeom>
              <a:solidFill>
                <a:srgbClr val="6F8CC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  <p:sp>
            <p:nvSpPr>
              <p:cNvPr id="77873" name="Rectangle 32">
                <a:extLst>
                  <a:ext uri="{FF2B5EF4-FFF2-40B4-BE49-F238E27FC236}">
                    <a16:creationId xmlns:a16="http://schemas.microsoft.com/office/drawing/2014/main" id="{40ADCAEE-6365-4F5D-9BAB-C41C9E9EE1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3" y="1091"/>
                <a:ext cx="366" cy="54"/>
              </a:xfrm>
              <a:prstGeom prst="rect">
                <a:avLst/>
              </a:prstGeom>
              <a:solidFill>
                <a:srgbClr val="6F8CC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</p:grpSp>
        <p:sp>
          <p:nvSpPr>
            <p:cNvPr id="77858" name="Line 33">
              <a:extLst>
                <a:ext uri="{FF2B5EF4-FFF2-40B4-BE49-F238E27FC236}">
                  <a16:creationId xmlns:a16="http://schemas.microsoft.com/office/drawing/2014/main" id="{194ABD96-8880-43C4-B36D-D6784F735094}"/>
                </a:ext>
              </a:extLst>
            </p:cNvPr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>
              <a:off x="766" y="1231"/>
              <a:ext cx="144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7" name="Group 34">
            <a:extLst>
              <a:ext uri="{FF2B5EF4-FFF2-40B4-BE49-F238E27FC236}">
                <a16:creationId xmlns:a16="http://schemas.microsoft.com/office/drawing/2014/main" id="{39143E09-1A1A-4CAA-BD4F-920E708E81E5}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4445000" y="1731963"/>
            <a:ext cx="3448050" cy="2555875"/>
            <a:chOff x="2800" y="1091"/>
            <a:chExt cx="2172" cy="1610"/>
          </a:xfrm>
        </p:grpSpPr>
        <p:sp>
          <p:nvSpPr>
            <p:cNvPr id="77840" name="Rectangle 35">
              <a:extLst>
                <a:ext uri="{FF2B5EF4-FFF2-40B4-BE49-F238E27FC236}">
                  <a16:creationId xmlns:a16="http://schemas.microsoft.com/office/drawing/2014/main" id="{F98BDAB6-78B2-4C25-A81A-2A5B7DF83EEF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448" y="1493"/>
              <a:ext cx="366" cy="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grpSp>
          <p:nvGrpSpPr>
            <p:cNvPr id="77841" name="Group 36">
              <a:extLst>
                <a:ext uri="{FF2B5EF4-FFF2-40B4-BE49-F238E27FC236}">
                  <a16:creationId xmlns:a16="http://schemas.microsoft.com/office/drawing/2014/main" id="{3932047F-3891-439F-8B73-3C24C9ED59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00" y="1091"/>
              <a:ext cx="2172" cy="1610"/>
              <a:chOff x="2800" y="1091"/>
              <a:chExt cx="2172" cy="1610"/>
            </a:xfrm>
          </p:grpSpPr>
          <p:sp>
            <p:nvSpPr>
              <p:cNvPr id="77842" name="Line 37">
                <a:extLst>
                  <a:ext uri="{FF2B5EF4-FFF2-40B4-BE49-F238E27FC236}">
                    <a16:creationId xmlns:a16="http://schemas.microsoft.com/office/drawing/2014/main" id="{C621EE15-9172-4422-BC19-5D9DA5336778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800" y="1093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43" name="Rectangle 38">
                <a:extLst>
                  <a:ext uri="{FF2B5EF4-FFF2-40B4-BE49-F238E27FC236}">
                    <a16:creationId xmlns:a16="http://schemas.microsoft.com/office/drawing/2014/main" id="{B42CC526-61D6-463B-AEAF-4441CE1FE7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3" y="1091"/>
                <a:ext cx="360" cy="402"/>
              </a:xfrm>
              <a:prstGeom prst="rect">
                <a:avLst/>
              </a:prstGeom>
              <a:solidFill>
                <a:srgbClr val="6F8CC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  <p:sp>
            <p:nvSpPr>
              <p:cNvPr id="77844" name="Rectangle 39">
                <a:extLst>
                  <a:ext uri="{FF2B5EF4-FFF2-40B4-BE49-F238E27FC236}">
                    <a16:creationId xmlns:a16="http://schemas.microsoft.com/office/drawing/2014/main" id="{482FC1F1-9381-4F0B-BFAA-38C963C33BF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3002" y="1242"/>
                <a:ext cx="245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ctr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fld id="{756214D1-8E36-4C45-838C-97BC782DCC4D}" type="datetime'''''5''0''''0'''''''''''''''">
                  <a:rPr lang="en-US" altLang="en-US" b="1">
                    <a:solidFill>
                      <a:schemeClr val="bg1"/>
                    </a:solidFill>
                  </a:rPr>
                  <a:pPr algn="ctr" eaLnBrk="1" hangingPunct="1"/>
                  <a:t>500</a:t>
                </a:fld>
                <a:endParaRPr lang="en-US" altLang="en-US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77845" name="Rectangle 40">
                <a:extLst>
                  <a:ext uri="{FF2B5EF4-FFF2-40B4-BE49-F238E27FC236}">
                    <a16:creationId xmlns:a16="http://schemas.microsoft.com/office/drawing/2014/main" id="{554AD94B-9527-45BE-A1A5-F25931EB1A4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944" y="2433"/>
                <a:ext cx="504" cy="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7D41FF6D-0D99-45A9-AFD6-DCC175C95AA3}" type="datetime'''''D''''e''''''''''b''''''t'''''''''''">
                  <a:rPr lang="en-US" altLang="en-US" sz="1200">
                    <a:cs typeface="Arial" panose="020B0604020202020204" pitchFamily="34" charset="0"/>
                  </a:rPr>
                  <a:pPr eaLnBrk="1" hangingPunct="1"/>
                  <a:t>Debt</a:t>
                </a:fld>
                <a:endParaRPr lang="en-US" altLang="en-US" sz="1200">
                  <a:cs typeface="Arial" panose="020B0604020202020204" pitchFamily="34" charset="0"/>
                </a:endParaRPr>
              </a:p>
            </p:txBody>
          </p:sp>
          <p:sp>
            <p:nvSpPr>
              <p:cNvPr id="77846" name="Rectangle 41">
                <a:extLst>
                  <a:ext uri="{FF2B5EF4-FFF2-40B4-BE49-F238E27FC236}">
                    <a16:creationId xmlns:a16="http://schemas.microsoft.com/office/drawing/2014/main" id="{D56224D9-E0C1-4A26-91FB-3945D265725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3580" y="1322"/>
                <a:ext cx="103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b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fld id="{5E6FAB80-7330-4FD1-BE35-21329ADFA2B8}" type="datetime'''''0'''''''''''''''''''''''''''''''''''''''''''''">
                  <a:rPr lang="en-US" altLang="en-US"/>
                  <a:pPr algn="ctr" eaLnBrk="1" hangingPunct="1"/>
                  <a:t>0</a:t>
                </a:fld>
                <a:endParaRPr lang="en-US" altLang="en-US"/>
              </a:p>
            </p:txBody>
          </p:sp>
          <p:sp>
            <p:nvSpPr>
              <p:cNvPr id="77847" name="Rectangle 42">
                <a:extLst>
                  <a:ext uri="{FF2B5EF4-FFF2-40B4-BE49-F238E27FC236}">
                    <a16:creationId xmlns:a16="http://schemas.microsoft.com/office/drawing/2014/main" id="{8987F795-C036-4ED3-AFB6-16AAE03F593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3448" y="2433"/>
                <a:ext cx="510" cy="2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397125E3-4203-4BCE-A8B2-230F779DBFA4}" type="datetime'S''''t''''''''''''''''ock Op''t''''''''''''''''i''on''''''''s'">
                  <a:rPr lang="en-US" altLang="en-US" sz="1200">
                    <a:cs typeface="Arial" panose="020B0604020202020204" pitchFamily="34" charset="0"/>
                  </a:rPr>
                  <a:pPr eaLnBrk="1" hangingPunct="1"/>
                  <a:t>Stock Options</a:t>
                </a:fld>
                <a:endParaRPr lang="en-US" altLang="en-US" sz="1200">
                  <a:cs typeface="Arial" panose="020B0604020202020204" pitchFamily="34" charset="0"/>
                </a:endParaRPr>
              </a:p>
            </p:txBody>
          </p:sp>
          <p:sp>
            <p:nvSpPr>
              <p:cNvPr id="77848" name="Rectangle 43">
                <a:extLst>
                  <a:ext uri="{FF2B5EF4-FFF2-40B4-BE49-F238E27FC236}">
                    <a16:creationId xmlns:a16="http://schemas.microsoft.com/office/drawing/2014/main" id="{0DBC4DE3-A368-4DE3-B115-357907AAAA9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054" y="1323"/>
                <a:ext cx="174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b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fld id="{9D4163E5-0B4F-4F9C-A98D-106FD728A21A}" type="datetime'''7''''''''''''''''''''''''''''0'''''''''''''''''''''''''''">
                  <a:rPr lang="en-US" altLang="en-US"/>
                  <a:pPr algn="ctr" eaLnBrk="1" hangingPunct="1"/>
                  <a:t>70</a:t>
                </a:fld>
                <a:endParaRPr lang="en-US" altLang="en-US"/>
              </a:p>
            </p:txBody>
          </p:sp>
          <p:sp>
            <p:nvSpPr>
              <p:cNvPr id="77849" name="Rectangle 44">
                <a:extLst>
                  <a:ext uri="{FF2B5EF4-FFF2-40B4-BE49-F238E27FC236}">
                    <a16:creationId xmlns:a16="http://schemas.microsoft.com/office/drawing/2014/main" id="{12D04792-5820-45C7-B087-C7C9AC39D74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3958" y="2433"/>
                <a:ext cx="510" cy="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7385C741-70DD-4432-94BF-290071EAAC07}" type="datetime'''''''''''P''''e''''n''s''''i''''''''o''''''n'''''''''''''''''">
                  <a:rPr lang="en-US" altLang="en-US" sz="1200">
                    <a:cs typeface="Arial" panose="020B0604020202020204" pitchFamily="34" charset="0"/>
                  </a:rPr>
                  <a:pPr eaLnBrk="1" hangingPunct="1"/>
                  <a:t>Pension</a:t>
                </a:fld>
                <a:endParaRPr lang="en-US" altLang="en-US" sz="1200">
                  <a:cs typeface="Arial" panose="020B0604020202020204" pitchFamily="34" charset="0"/>
                </a:endParaRPr>
              </a:p>
            </p:txBody>
          </p:sp>
          <p:sp>
            <p:nvSpPr>
              <p:cNvPr id="77850" name="Rectangle 45">
                <a:extLst>
                  <a:ext uri="{FF2B5EF4-FFF2-40B4-BE49-F238E27FC236}">
                    <a16:creationId xmlns:a16="http://schemas.microsoft.com/office/drawing/2014/main" id="{A2E86DC1-D7D8-4CDF-8099-675BE3A9E5E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61" y="1392"/>
                <a:ext cx="174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25400" tIns="0" rIns="25400" bIns="0" anchor="b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fld id="{847DDD8F-4B0E-432E-A841-F519CD3169E9}" type="datetime'''''''''''''''''''''''''''3''''''''''''''''''''''''''''0'''''">
                  <a:rPr lang="en-US" altLang="en-US"/>
                  <a:pPr algn="ctr" eaLnBrk="1" hangingPunct="1"/>
                  <a:t>30</a:t>
                </a:fld>
                <a:endParaRPr lang="en-US" altLang="en-US"/>
              </a:p>
            </p:txBody>
          </p:sp>
          <p:sp>
            <p:nvSpPr>
              <p:cNvPr id="77851" name="Rectangle 46">
                <a:extLst>
                  <a:ext uri="{FF2B5EF4-FFF2-40B4-BE49-F238E27FC236}">
                    <a16:creationId xmlns:a16="http://schemas.microsoft.com/office/drawing/2014/main" id="{54AC8862-6D18-43D3-BADC-0FDDAEE11FD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68" y="2433"/>
                <a:ext cx="504" cy="2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895350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8953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89535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fld id="{BEA787E4-FBD2-4194-9A19-2C946342A2A9}" type="datetime'''''''''''''''Pr''e''''''fer''''r''''e''''''d'' Equ''''''ity'">
                  <a:rPr lang="en-US" altLang="en-US" sz="1200">
                    <a:cs typeface="Arial" panose="020B0604020202020204" pitchFamily="34" charset="0"/>
                  </a:rPr>
                  <a:pPr eaLnBrk="1" hangingPunct="1"/>
                  <a:t>Preferred Equity</a:t>
                </a:fld>
                <a:endParaRPr lang="en-US" altLang="en-US" sz="1200">
                  <a:cs typeface="Arial" panose="020B0604020202020204" pitchFamily="34" charset="0"/>
                </a:endParaRPr>
              </a:p>
            </p:txBody>
          </p:sp>
          <p:sp>
            <p:nvSpPr>
              <p:cNvPr id="77852" name="Rectangle 47">
                <a:extLst>
                  <a:ext uri="{FF2B5EF4-FFF2-40B4-BE49-F238E27FC236}">
                    <a16:creationId xmlns:a16="http://schemas.microsoft.com/office/drawing/2014/main" id="{BB43EBF0-4514-4284-AF10-FA8E7088DF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7" y="1493"/>
                <a:ext cx="365" cy="66"/>
              </a:xfrm>
              <a:prstGeom prst="rect">
                <a:avLst/>
              </a:prstGeom>
              <a:solidFill>
                <a:srgbClr val="6F8CC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  <p:sp>
            <p:nvSpPr>
              <p:cNvPr id="77853" name="Rectangle 48">
                <a:extLst>
                  <a:ext uri="{FF2B5EF4-FFF2-40B4-BE49-F238E27FC236}">
                    <a16:creationId xmlns:a16="http://schemas.microsoft.com/office/drawing/2014/main" id="{BAEF92A4-FE23-4C86-AA85-EB7708E53D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6" y="1562"/>
                <a:ext cx="360" cy="30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SzTx/>
                </a:pPr>
                <a:endParaRPr lang="en-GB" altLang="en-US"/>
              </a:p>
            </p:txBody>
          </p:sp>
          <p:sp>
            <p:nvSpPr>
              <p:cNvPr id="77854" name="Line 49">
                <a:extLst>
                  <a:ext uri="{FF2B5EF4-FFF2-40B4-BE49-F238E27FC236}">
                    <a16:creationId xmlns:a16="http://schemas.microsoft.com/office/drawing/2014/main" id="{C9224D72-AA8A-4B07-8501-5F3B6564B677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304" y="1494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55" name="Line 50">
                <a:extLst>
                  <a:ext uri="{FF2B5EF4-FFF2-40B4-BE49-F238E27FC236}">
                    <a16:creationId xmlns:a16="http://schemas.microsoft.com/office/drawing/2014/main" id="{830E74BD-0D56-4526-A427-01441D553F72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814" y="1496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7856" name="Line 51">
                <a:extLst>
                  <a:ext uri="{FF2B5EF4-FFF2-40B4-BE49-F238E27FC236}">
                    <a16:creationId xmlns:a16="http://schemas.microsoft.com/office/drawing/2014/main" id="{895E2A11-8AE3-4328-A5DB-BBB9E073E1AD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327" y="1561"/>
                <a:ext cx="144" cy="0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sp>
        <p:nvSpPr>
          <p:cNvPr id="77835" name="Rectangle 52">
            <a:extLst>
              <a:ext uri="{FF2B5EF4-FFF2-40B4-BE49-F238E27FC236}">
                <a16:creationId xmlns:a16="http://schemas.microsoft.com/office/drawing/2014/main" id="{3667C571-81CB-4463-BF01-7DDB8DCDDAF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76275" y="2636838"/>
            <a:ext cx="8302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chemeClr val="bg1"/>
                </a:solidFill>
              </a:rPr>
              <a:t>1,500</a:t>
            </a:r>
          </a:p>
        </p:txBody>
      </p:sp>
      <p:sp>
        <p:nvSpPr>
          <p:cNvPr id="77836" name="Rectangle 53">
            <a:extLst>
              <a:ext uri="{FF2B5EF4-FFF2-40B4-BE49-F238E27FC236}">
                <a16:creationId xmlns:a16="http://schemas.microsoft.com/office/drawing/2014/main" id="{651737AB-71D6-404E-9CC5-A154253FEF8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8175" y="3860800"/>
            <a:ext cx="7445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/>
              <a:t>Operating value</a:t>
            </a:r>
          </a:p>
        </p:txBody>
      </p:sp>
      <p:graphicFrame>
        <p:nvGraphicFramePr>
          <p:cNvPr id="77837" name="Rectangle 54" hidden="1">
            <a:extLst>
              <a:ext uri="{FF2B5EF4-FFF2-40B4-BE49-F238E27FC236}">
                <a16:creationId xmlns:a16="http://schemas.microsoft.com/office/drawing/2014/main" id="{A59571BB-E360-4DB0-B728-9C21FD19A4A8}"/>
              </a:ext>
            </a:extLst>
          </p:cNvPr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3" r:id="rId46" imgW="0" imgH="0" progId="TCLayout.ActiveDocument.1">
                  <p:embed/>
                </p:oleObj>
              </mc:Choice>
              <mc:Fallback>
                <p:oleObj r:id="rId46" imgW="0" imgH="0" progId="TCLayout.ActiveDocument.1">
                  <p:embed/>
                  <p:pic>
                    <p:nvPicPr>
                      <p:cNvPr id="77837" name="Rectangle 54" hidden="1">
                        <a:extLst>
                          <a:ext uri="{FF2B5EF4-FFF2-40B4-BE49-F238E27FC236}">
                            <a16:creationId xmlns:a16="http://schemas.microsoft.com/office/drawing/2014/main" id="{A59571BB-E360-4DB0-B728-9C21FD19A4A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838" name="Rectangle 55" hidden="1">
            <a:extLst>
              <a:ext uri="{FF2B5EF4-FFF2-40B4-BE49-F238E27FC236}">
                <a16:creationId xmlns:a16="http://schemas.microsoft.com/office/drawing/2014/main" id="{EECCB1F8-5D29-4999-9C45-6F43AEAD43A1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25400" tIns="0" rIns="25400" bIns="0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</a:pPr>
            <a:r>
              <a:rPr lang="en-US" altLang="en-US">
                <a:cs typeface="Arial" panose="020B0604020202020204" pitchFamily="34" charset="0"/>
              </a:rPr>
              <a:t>860</a:t>
            </a:r>
          </a:p>
        </p:txBody>
      </p:sp>
      <p:sp>
        <p:nvSpPr>
          <p:cNvPr id="77839" name="Rectangle 56">
            <a:extLst>
              <a:ext uri="{FF2B5EF4-FFF2-40B4-BE49-F238E27FC236}">
                <a16:creationId xmlns:a16="http://schemas.microsoft.com/office/drawing/2014/main" id="{9144401E-C7C2-4E18-B191-490B22DA976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Deriving equity value from operating value (DCF)</a:t>
            </a:r>
            <a:endParaRPr lang="en-GB" altLang="en-US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Difference between operating and entity value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5027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xcess cash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Excess cash = Cash &amp; cash equivalents - Operating cash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ash not needed to run the busines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ocus on day-to-day funding (short-term funding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Non-consolidated subsidiari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f company holds less than 50% of equity of another company, subsidiary is not consolidated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Other non-operating asset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Discontinued operation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Unused land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374068594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From entity value to common equity value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19445"/>
            <a:ext cx="7292975" cy="5437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eb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Take debt reported on balance shee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Liability to debtholder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Stock options (see next lecture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Value stock options (Black-Scholes equation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romise to executiv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ension liabiliti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romise to employe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mportant if payments are guaranteed (defined benefit plans) and assets are insufficient to cover expected future liabilities (see next lecture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referred equity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Treated like deb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No voting rights</a:t>
            </a:r>
          </a:p>
        </p:txBody>
      </p:sp>
    </p:spTree>
    <p:extLst>
      <p:ext uri="{BB962C8B-B14F-4D97-AF65-F5344CB8AC3E}">
        <p14:creationId xmlns:p14="http://schemas.microsoft.com/office/powerpoint/2010/main" val="1427846075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Pay-out profiles of shareholders and debtholder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19445"/>
            <a:ext cx="7292975" cy="389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ebtholder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ontractual payment (interest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Repayment of principal at maturity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 case of default, loss can occur (recovery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Risk-aversion due to pay-out profile as they do not benefit from upsid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Shareholder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Residual claim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Linear pay-out profile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48798807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Continuing value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19445"/>
            <a:ext cx="7292975" cy="5027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Company can potentially exist until infinity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Value of free cash flow diminishes rapidly due to discounting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owever, the continuing or terminal value should be considered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Forecasting stops after 15-20 years due to a lack of data but also as the value of discounted cash flows becomes very small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ssumptions for long-term growth and profitability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Long-term growth (nominal) at most equal to nominal GDP growth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rofitability (ROIC) tends to be more stable and needs to be in excess of cost of capital (COC) thus ROIC&gt;COC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928462101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537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57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TI2hbTErES6Xw.t05nA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5h2A_gzk2yjcqueslX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9DfFOmEYUWcshJRogFJo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ld0jDsau0yAYd9uksbZD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wWL9aRkqWE694MYlXkyX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N.sKTgbr2E2TKAlhLAsB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DFJzilMxlk6nw_MGjCtl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3Z3B9F4eL0.9lwaeVztx2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3Ppw1DLGo0CyYjvtU3V.7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S_fD53ENEOxCNPtGAT7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Tq6ZE8i0mSGjtmphoFZ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n.RiLHAikOPf2wbQoWk_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gBKhEJgYUqoI63r5hwgj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pNkSGsNkSfOWkrTyYG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xeustZn.USc8XeWk1Gr0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gd0Dyqe00iWunbnEnqE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2ouKNNrUatQxF.luhr_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ySyowXq2pEmxisSN2BiHn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byljbrqw0OOzCJNNF4E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m1.Up3JEkCnvkmTbJ_h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RiG53sWf06t8rUmZhUhh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BN8Jdwu1Uu0ZGf0_jO3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HyoK4hXkCMTebBA7z2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Bx6k1bwLrkaux8hdAxzZ0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f3roWaisEW_RMSAWn0Ky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0eAzAQv7Uq._gUn3XHn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MIe2rH0efxmh9n3Bq9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kuH7IWEHckScvVDvT.HS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0X0Xazk2z6IgpTse_o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E0TIUue2kue2AjdNFma2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wepBWPSvk.mqUUKJbR._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qijQGM_AEar2RdhMsvEe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wox31nC2kaMUuIZbN88B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ktQYU7_EEm2Z67wB.65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3H0G12n0uj2aKtRRtT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KMdO34XrU2C74XO9a9F6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lf0k8sZ.UmsmL74ePiE1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6ui8MISakm7YHmZhY8O4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6C_pcFRkGmVBtvhMjEz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5VcyY1ymkWtaUzxyQzB5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mFvDsXbQk.eZaZqRwRo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ncFy3FWZkq5EcQe_muwm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bg5IFt9r0CFv6q.Bwmv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_mcLtJnHEqFl7ZcipPTP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muBNJ.KZEWD994T3nls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Qq2VaUOYikdM4UQ5w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E51WiX0rkuLsauezP34s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EVo_xSsECMOrdiBGEc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JMYuXDV0qvN9CspPInD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2zLNpMYCUGgsvAwQuy2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aTrKk29UUu67cGcLC1qW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0ma2lMCES88sd.uSFk4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inWYePsUiKVtkuQ.Zl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Y3NvpRVo0SsEz2GQ8J0g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dyktsZ5g0m3vCblCq_En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rrUsw1UEGJ4JTBuINU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WEkRfvFkqz6snKg4t7O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CoTKHyJjUucYyBiWwq4c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Kg9jljUBU..VI0O4UpQY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zcwxhRQAUa49N2BNsSsB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NIBMtuDEu9yHuEDqA12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EUAaL5TIkWSDTD4wx2We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gZVzqq5TEuJdD64sYIcC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3q2LpHl3kiRGxeZE1xd6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PMQqpUG4W.OLsDlXQ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Rl9QmqbU2cXrJsPWr1v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51xLT12i0u.L4DNoYrmh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plOxs8MjEy.nSgcVS7If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Ho4R4gOZDEC47x5zL7JC1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V8nVM9wSjEaGyTuE74YTB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FrloYwiRp0S2SBoaUNbPZ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d7Jqj.FMYEOXD7zVYKt07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6hWEcHkNcEWjf_h.oHpAm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ydDyRpot0WHAvjcymYue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bifryZU_UO9io7dYm9w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bwglp_UCu2GDaXdS06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C8Jaf6.yEWiYQwGLWX4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Ixxz_klkiGAm8EaZWK1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85.625"/>
  <p:tag name="LTOP" val=" 70.25"/>
  <p:tag name="THINKCELLSHAPEDONOTDELETE" val="SsB4YZtw2U2uPHlvPMgG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.cKPPQxqEkCzEKPZYAHl9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rAtoyQc_nU.O4SZ1ByvH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r2zEZRBLUSfinW_SBCR1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_Hh_ZdHcES9WbhW_MRUn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7PEI4dRDk2dHks1K8A.v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3VyORah6EqYjW0gDYnAJ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7lCmjjmIsUKyeZNRdHE4k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1rfKFECNhUWWul09pVNmQ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85.625"/>
  <p:tag name="LTOP" val=" 70.25"/>
  <p:tag name="THINKCELLSHAPEDONOTDELETE" val="Vvz7SsFAx0WYbWBLSWlS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vHofp8K02Z0Ov2uRXr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ZFXHnUpUy3zGf2XyH6J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2rUINPQupkWpJdgerrooY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F2tW.XrkW7KNhzdmvA9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ijvRpyAhkWGty_zLDwc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FudFEnJkeKVrdLv4OC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1im3pvnHUqfa3aityJT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v91zkPOEK6Kd6CObF5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.UTNuC7X0aSIlbX6crx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fOS46HAEuHWLXmQ7dt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GRccgt5k.4wCcNU_QR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1sto2zO0WBdH2BRTMW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8QryDiEigIBM75bt9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KzNSgCY0az1uOj1ts8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iKgpJKEuZ7x2T_cDr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5rcRwQNE.oG63tUfB8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5h2A_gzk2yjcqueslX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9DfFOmEYUWcshJRogFJ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ld0jDsau0yAYd9uksbZ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wWL9aRkqWE694MYlXkyX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N.sKTgbr2E2TKAlhLAsB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yI_8gIF60CNSly4Vl2p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DFJzilMxlk6nw_MGjCtl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3Z3B9F4eL0.9lwaeVztx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3Ppw1DLGo0CyYjvtU3V.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Tq6ZE8i0mSGjtmphoF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26qPrNRU2cWBDE_WnZ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n.RiLHAikOPf2wbQoWk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RXx1h3pUUuU0VkLh30q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U3DdqWbMEey0TVo4r7p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lF6eK0UEE65_FBLz2y2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7vPBJBDgUS_.CI78FLq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tHNxm3jfUasQfJ.zYHE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D4sOy2H0a3VxZUPKnk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yI_8gIF60CNSly4Vl2p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rKrdokMEWg8zPUk1Go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26qPrNRU2cWBDE_WnZ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D4sOy2H0a3VxZUPKnku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rKrdokMEWg8zPUk1GoV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_MKjbrBU65QSrq3W.4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ILE1H7gTkGU.8fYLw1P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TI2hbTErES6Xw.t05nA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S_fD53ENEOxCNPtGAT7u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2ouKNNrUatQxF.luhr_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Bx6k1bwLrkaux8hdAxzZ0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_MKjbrBU65QSrq3W.4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3H0G12n0uj2aKtRRtT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Qq2VaUOYikdM4UQ5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WEkRfvFkqz6snKg4t7O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PMQqpUG4W.OLsDlX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Rl9QmqbU2cXrJsPWr1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51xLT12i0u.L4DNoYrmh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Ixxz_klkiGAm8EaZWK1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vHofp8K02Z0Ov2uRXrs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F2tW.XrkW7KNhzdmvA9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ijvRpyAhkWGty_zLDwc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ILE1H7gTkGU.8fYLw1P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FudFEnJkeKVrdLv4OCV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1im3pvnHUqfa3aityJT4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v91zkPOEK6Kd6CObF5A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.UTNuC7X0aSIlbX6crx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fOS46HAEuHWLXmQ7dtk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1sto2zO0WBdH2BRTMW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8QryDiEigIBM75bt90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KzNSgCY0az1uOj1ts8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iKgpJKEuZ7x2T_cDr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5rcRwQNE.oG63tUfB8SQ"/>
</p:tagLst>
</file>

<file path=ppt/theme/theme1.xml><?xml version="1.0" encoding="utf-8"?>
<a:theme xmlns:a="http://schemas.openxmlformats.org/drawingml/2006/main" name="GEO_UT Special_en">
  <a:themeElements>
    <a:clrScheme name="GEO_UT Special_en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BFCAD7"/>
      </a:accent2>
      <a:accent3>
        <a:srgbClr val="FFFFFF"/>
      </a:accent3>
      <a:accent4>
        <a:srgbClr val="000000"/>
      </a:accent4>
      <a:accent5>
        <a:srgbClr val="FFFFFF"/>
      </a:accent5>
      <a:accent6>
        <a:srgbClr val="ADB7C3"/>
      </a:accent6>
      <a:hlink>
        <a:srgbClr val="8094AF"/>
      </a:hlink>
      <a:folHlink>
        <a:srgbClr val="405E88"/>
      </a:folHlink>
    </a:clrScheme>
    <a:fontScheme name="GEO_UT Special_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GEO_UT Special_en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BFCAD7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DB7C3"/>
        </a:accent6>
        <a:hlink>
          <a:srgbClr val="8094AF"/>
        </a:hlink>
        <a:folHlink>
          <a:srgbClr val="405E8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O_UT Special_en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O_UT Special_en</Template>
  <TotalTime>17342</TotalTime>
  <Words>2227</Words>
  <Application>Microsoft Office PowerPoint</Application>
  <PresentationFormat>Custom</PresentationFormat>
  <Paragraphs>407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Cambria Math</vt:lpstr>
      <vt:lpstr>Grotesque</vt:lpstr>
      <vt:lpstr>Arial</vt:lpstr>
      <vt:lpstr>Wingdings</vt:lpstr>
      <vt:lpstr>Century Gothic</vt:lpstr>
      <vt:lpstr>GEO_UT Special_en</vt:lpstr>
      <vt:lpstr>TCLayout.ActiveDocument</vt:lpstr>
      <vt:lpstr>TCLayout.ActiveDocument.1</vt:lpstr>
      <vt:lpstr>Chart</vt:lpstr>
      <vt:lpstr>The discounted cash flow (DCF) model</vt:lpstr>
      <vt:lpstr>AGENDA: Unit 3</vt:lpstr>
      <vt:lpstr>Contents</vt:lpstr>
      <vt:lpstr>Free cash flows and their distribution</vt:lpstr>
      <vt:lpstr>Deriving equity value from operating value (DCF)</vt:lpstr>
      <vt:lpstr>Difference between operating and entity value</vt:lpstr>
      <vt:lpstr>From entity value to common equity value</vt:lpstr>
      <vt:lpstr>Pay-out profiles of shareholders and debtholders</vt:lpstr>
      <vt:lpstr>Continuing value</vt:lpstr>
      <vt:lpstr>The continuing value formula</vt:lpstr>
      <vt:lpstr>Deriving the continuing value formula</vt:lpstr>
      <vt:lpstr>Mid-year and monthly adjustments</vt:lpstr>
      <vt:lpstr>Contents</vt:lpstr>
      <vt:lpstr>How to forecast cash flows?</vt:lpstr>
      <vt:lpstr>Forecasting free cash flows</vt:lpstr>
      <vt:lpstr>Use ratios (assumptions) to link cash flows to revenues</vt:lpstr>
      <vt:lpstr>Forecasting periods</vt:lpstr>
      <vt:lpstr>Kellogg’s growth forecast: No growth scenario</vt:lpstr>
      <vt:lpstr>Predicting debt</vt:lpstr>
      <vt:lpstr>Kellogg’s predicted debt will go into cash holding</vt:lpstr>
      <vt:lpstr>Contents</vt:lpstr>
      <vt:lpstr>Value drivers: growth and ROIC</vt:lpstr>
      <vt:lpstr>Growth and ROIC are the two value drivers</vt:lpstr>
      <vt:lpstr>The right combination matters</vt:lpstr>
      <vt:lpstr>ROIC trees are a useful tool to analyse profitability</vt:lpstr>
      <vt:lpstr>Understanding good and bad growth</vt:lpstr>
      <vt:lpstr>Growth might be affected by M&amp;A and currency effects</vt:lpstr>
      <vt:lpstr>Contents</vt:lpstr>
      <vt:lpstr>What does the market think about Kellogg?</vt:lpstr>
      <vt:lpstr>MAIN INSIGHTS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arsten kohlhöfer</dc:creator>
  <cp:keywords>Message Universal Template A4</cp:keywords>
  <dc:description>Version 1.1</dc:description>
  <cp:lastModifiedBy>Kling, Gerhard</cp:lastModifiedBy>
  <cp:revision>1829</cp:revision>
  <cp:lastPrinted>2006-11-29T21:43:04Z</cp:lastPrinted>
  <dcterms:created xsi:type="dcterms:W3CDTF">2006-05-23T12:59:45Z</dcterms:created>
  <dcterms:modified xsi:type="dcterms:W3CDTF">2022-03-09T15:50:01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Slide 0</vt:lpwstr>
  </property>
  <property fmtid="{D5CDD505-2E9C-101B-9397-08002B2CF9AE}" pid="8" name="Final">
    <vt:bool>true</vt:bool>
  </property>
  <property fmtid="{D5CDD505-2E9C-101B-9397-08002B2CF9AE}" pid="9" name="DocIDSWO">
    <vt:lpwstr>ZWJ100 - Retail Banking Conf Dry-run</vt:lpwstr>
  </property>
  <property fmtid="{D5CDD505-2E9C-101B-9397-08002B2CF9AE}" pid="10" name="SWOTitle">
    <vt:lpwstr>ZWJ100 - Retail Banking Conf Dry-run</vt:lpwstr>
  </property>
  <property fmtid="{D5CDD505-2E9C-101B-9397-08002B2CF9AE}" pid="11" name="DocID">
    <vt:lpwstr>BVA-262310-100-20060902-GE3-v6(Banking JV master 20.9.2006)</vt:lpwstr>
  </property>
  <property fmtid="{D5CDD505-2E9C-101B-9397-08002B2CF9AE}" pid="12" name="DocIDinTitle">
    <vt:bool>false</vt:bool>
  </property>
  <property fmtid="{D5CDD505-2E9C-101B-9397-08002B2CF9AE}" pid="13" name="DocIDinSlide">
    <vt:bool>true</vt:bool>
  </property>
  <property fmtid="{D5CDD505-2E9C-101B-9397-08002B2CF9AE}" pid="14" name="DocIDPosition">
    <vt:i4>1</vt:i4>
  </property>
</Properties>
</file>